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3.xml" ContentType="application/vnd.openxmlformats-officedocument.presentationml.notesSlide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5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6"/>
  </p:sldMasterIdLst>
  <p:notesMasterIdLst>
    <p:notesMasterId r:id="rId22"/>
  </p:notesMasterIdLst>
  <p:handoutMasterIdLst>
    <p:handoutMasterId r:id="rId23"/>
  </p:handoutMasterIdLst>
  <p:sldIdLst>
    <p:sldId id="427" r:id="rId7"/>
    <p:sldId id="2142533175" r:id="rId8"/>
    <p:sldId id="2995" r:id="rId9"/>
    <p:sldId id="2996" r:id="rId10"/>
    <p:sldId id="2998" r:id="rId11"/>
    <p:sldId id="2997" r:id="rId12"/>
    <p:sldId id="2142533169" r:id="rId13"/>
    <p:sldId id="2142533170" r:id="rId14"/>
    <p:sldId id="2142533172" r:id="rId15"/>
    <p:sldId id="2142533049" r:id="rId16"/>
    <p:sldId id="2142533140" r:id="rId17"/>
    <p:sldId id="2142533173" r:id="rId18"/>
    <p:sldId id="2142533176" r:id="rId19"/>
    <p:sldId id="324" r:id="rId20"/>
    <p:sldId id="6710" r:id="rId21"/>
  </p:sldIdLst>
  <p:sldSz cx="12192000" cy="6858000"/>
  <p:notesSz cx="9144000" cy="6858000"/>
  <p:custDataLst>
    <p:tags r:id="rId24"/>
  </p:custDataLst>
  <p:defaultTextStyle>
    <a:defPPr>
      <a:defRPr lang="de-DE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vey, Kristian" initials="LK" lastIdx="9" clrIdx="0">
    <p:extLst>
      <p:ext uri="{19B8F6BF-5375-455C-9EA6-DF929625EA0E}">
        <p15:presenceInfo xmlns:p15="http://schemas.microsoft.com/office/powerpoint/2012/main" userId="S::LEVEKRI@HILTI.com::343b2be6-1a2d-4663-ba6d-1c3f1a72c5b3" providerId="AD"/>
      </p:ext>
    </p:extLst>
  </p:cmAuthor>
  <p:cmAuthor id="2" name="Sopouskova, Mariana" initials="SM" lastIdx="6" clrIdx="1">
    <p:extLst>
      <p:ext uri="{19B8F6BF-5375-455C-9EA6-DF929625EA0E}">
        <p15:presenceInfo xmlns:p15="http://schemas.microsoft.com/office/powerpoint/2012/main" userId="S-1-5-21-1707683060-1666451717-1840333726-56406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EB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B24C427-5436-400C-8B90-620B03407603}" v="595" dt="2022-06-14T15:08:33.2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67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3228" y="9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6C6B04-9E6D-40DE-8EA1-B9649BC90B14}" type="datetimeFigureOut">
              <a:rPr lang="de-DE" smtClean="0"/>
              <a:t>14.06.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DF67D7-BA63-4A6B-994A-F20B402AACC7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8730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57C789-CA9F-4CC8-9066-2F2B603111B2}" type="datetimeFigureOut">
              <a:rPr lang="de-DE" smtClean="0"/>
              <a:t>14.06.20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922080-6DDB-4DAF-821D-ECA13D29AB1F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67249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28594" indent="-228594" algn="l" defTabSz="1219170" rtl="0" eaLnBrk="1" latinLnBrk="0" hangingPunct="1"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478355" indent="-228594" algn="l" defTabSz="1219170" rtl="0" eaLnBrk="1" latinLnBrk="0" hangingPunct="1"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719649" indent="-228594" algn="l" defTabSz="1219170" rtl="0" eaLnBrk="1" latinLnBrk="0" hangingPunct="1"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958827" indent="-228594" algn="l" defTabSz="1219170" rtl="0" eaLnBrk="1" latinLnBrk="0" hangingPunct="1"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98003" indent="-228594" algn="l" defTabSz="1219170" rtl="0" eaLnBrk="1" latinLnBrk="0" hangingPunct="1"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922080-6DDB-4DAF-821D-ECA13D29AB1F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3683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922080-6DDB-4DAF-821D-ECA13D29AB1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138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922080-6DDB-4DAF-821D-ECA13D29AB1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0626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6049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90525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7000" y="3276000"/>
            <a:ext cx="6120000" cy="5182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D7922080-6DDB-4DAF-821D-ECA13D29AB1F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2680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90525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922080-6DDB-4DAF-821D-ECA13D29AB1F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99953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8524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482" imgH="481" progId="TCLayout.ActiveDocument.1">
                  <p:embed/>
                </p:oleObj>
              </mc:Choice>
              <mc:Fallback>
                <p:oleObj name="think-cell Slide" r:id="rId4" imgW="482" imgH="48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7"/>
          <p:cNvSpPr/>
          <p:nvPr userDrawn="1"/>
        </p:nvSpPr>
        <p:spPr>
          <a:xfrm>
            <a:off x="6996100" y="0"/>
            <a:ext cx="5195900" cy="6858000"/>
          </a:xfrm>
          <a:custGeom>
            <a:avLst/>
            <a:gdLst>
              <a:gd name="connsiteX0" fmla="*/ 3629319 w 5724128"/>
              <a:gd name="connsiteY0" fmla="*/ 45244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3629319 w 5724128"/>
              <a:gd name="connsiteY4" fmla="*/ 45244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4128" h="5143500">
                <a:moveTo>
                  <a:pt x="4342866" y="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lnTo>
                  <a:pt x="434286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8365" y="1460941"/>
            <a:ext cx="9362051" cy="1608019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78365" y="3140969"/>
            <a:ext cx="9362051" cy="874044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chemeClr val="accent5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785" y="452967"/>
            <a:ext cx="2160000" cy="51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4392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478366" y="6261315"/>
            <a:ext cx="1133026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9" name="object 3"/>
          <p:cNvSpPr/>
          <p:nvPr userDrawn="1"/>
        </p:nvSpPr>
        <p:spPr>
          <a:xfrm>
            <a:off x="0" y="0"/>
            <a:ext cx="12192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723065" y="6481448"/>
            <a:ext cx="6197137" cy="16390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8365" y="1613182"/>
            <a:ext cx="8641971" cy="1440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0"/>
          </p:nvPr>
        </p:nvSpPr>
        <p:spPr>
          <a:xfrm>
            <a:off x="478365" y="3105063"/>
            <a:ext cx="4801544" cy="267555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 marL="0" indent="0">
              <a:spcBef>
                <a:spcPts val="0"/>
              </a:spcBef>
              <a:buNone/>
              <a:defRPr sz="1600"/>
            </a:lvl2pPr>
            <a:lvl3pPr marL="0" indent="0">
              <a:spcBef>
                <a:spcPts val="0"/>
              </a:spcBef>
              <a:buNone/>
              <a:defRPr sz="1600"/>
            </a:lvl3pPr>
            <a:lvl4pPr marL="0" indent="0">
              <a:spcBef>
                <a:spcPts val="0"/>
              </a:spcBef>
              <a:buNone/>
              <a:defRPr sz="1600"/>
            </a:lvl4pPr>
            <a:lvl5pPr marL="0" indent="0">
              <a:spcBef>
                <a:spcPts val="0"/>
              </a:spcBef>
              <a:buNone/>
              <a:defRPr sz="16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91390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0"/>
            <a:ext cx="12192000" cy="6309613"/>
          </a:xfrm>
          <a:prstGeom prst="rect">
            <a:avLst/>
          </a:prstGeom>
          <a:solidFill>
            <a:srgbClr val="7572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723065" y="6481448"/>
            <a:ext cx="6197137" cy="16390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8365" y="1613182"/>
            <a:ext cx="8641971" cy="1440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0"/>
          </p:nvPr>
        </p:nvSpPr>
        <p:spPr>
          <a:xfrm>
            <a:off x="478365" y="3105063"/>
            <a:ext cx="4801544" cy="267555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48153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evider with 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478366" y="6261315"/>
            <a:ext cx="1133026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9" name="object 3"/>
          <p:cNvSpPr/>
          <p:nvPr userDrawn="1"/>
        </p:nvSpPr>
        <p:spPr>
          <a:xfrm>
            <a:off x="0" y="0"/>
            <a:ext cx="12192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723065" y="6481448"/>
            <a:ext cx="6197137" cy="16390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8364" y="1613182"/>
            <a:ext cx="6480000" cy="1572174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974715" y="-1"/>
            <a:ext cx="7217285" cy="6309614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5093 w 10000"/>
              <a:gd name="connsiteY0" fmla="*/ 1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93 w 10000"/>
              <a:gd name="connsiteY4" fmla="*/ 11 h 10000"/>
              <a:gd name="connsiteX0" fmla="*/ 5084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4 w 10000"/>
              <a:gd name="connsiteY4" fmla="*/ 6 h 10000"/>
              <a:gd name="connsiteX0" fmla="*/ 5172 w 10000"/>
              <a:gd name="connsiteY0" fmla="*/ 22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172 w 10000"/>
              <a:gd name="connsiteY4" fmla="*/ 227 h 10000"/>
              <a:gd name="connsiteX0" fmla="*/ 5080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0 w 10000"/>
              <a:gd name="connsiteY4" fmla="*/ 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5080" y="1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5080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15434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evider with 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6309613"/>
          </a:xfrm>
          <a:prstGeom prst="rect">
            <a:avLst/>
          </a:prstGeom>
          <a:solidFill>
            <a:srgbClr val="7572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723065" y="6481448"/>
            <a:ext cx="6197137" cy="16390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8364" y="1613182"/>
            <a:ext cx="6480000" cy="1572174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974715" y="-1"/>
            <a:ext cx="7217285" cy="6309614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5093 w 10000"/>
              <a:gd name="connsiteY0" fmla="*/ 1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93 w 10000"/>
              <a:gd name="connsiteY4" fmla="*/ 11 h 10000"/>
              <a:gd name="connsiteX0" fmla="*/ 5084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4 w 10000"/>
              <a:gd name="connsiteY4" fmla="*/ 6 h 10000"/>
              <a:gd name="connsiteX0" fmla="*/ 5172 w 10000"/>
              <a:gd name="connsiteY0" fmla="*/ 22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172 w 10000"/>
              <a:gd name="connsiteY4" fmla="*/ 227 h 10000"/>
              <a:gd name="connsiteX0" fmla="*/ 5080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0 w 10000"/>
              <a:gd name="connsiteY4" fmla="*/ 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5080" y="1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5080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74844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l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23065" y="6469556"/>
            <a:ext cx="9017451" cy="18769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476163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and colored are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7"/>
          <p:cNvSpPr/>
          <p:nvPr userDrawn="1"/>
        </p:nvSpPr>
        <p:spPr>
          <a:xfrm>
            <a:off x="8211670" y="0"/>
            <a:ext cx="3980329" cy="6858000"/>
          </a:xfrm>
          <a:custGeom>
            <a:avLst/>
            <a:gdLst>
              <a:gd name="connsiteX0" fmla="*/ 3629319 w 5724128"/>
              <a:gd name="connsiteY0" fmla="*/ 45244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3629319 w 5724128"/>
              <a:gd name="connsiteY4" fmla="*/ 45244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0 w 5724128"/>
              <a:gd name="connsiteY0" fmla="*/ 514350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4128" h="5143500">
                <a:moveTo>
                  <a:pt x="0" y="514350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9426" y="1592263"/>
            <a:ext cx="8640000" cy="4429125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23065" y="6469556"/>
            <a:ext cx="9017451" cy="18769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08568" y="6468070"/>
            <a:ext cx="144643" cy="21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5371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lored are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-1"/>
            <a:ext cx="12192000" cy="63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000"/>
              </a:spcBef>
              <a:buClr>
                <a:schemeClr val="tx1"/>
              </a:buClr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23065" y="6469556"/>
            <a:ext cx="9017451" cy="18769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538499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lored area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12192000" cy="6309613"/>
          </a:xfrm>
          <a:prstGeom prst="rect">
            <a:avLst/>
          </a:prstGeom>
          <a:solidFill>
            <a:srgbClr val="7572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0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23065" y="6469556"/>
            <a:ext cx="9017451" cy="18769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564077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9425" y="1592263"/>
            <a:ext cx="5472113" cy="44291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23065" y="6469556"/>
            <a:ext cx="9017451" cy="18769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6240463" y="1592263"/>
            <a:ext cx="5472112" cy="44291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880092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s and colored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8211670" y="0"/>
            <a:ext cx="3980329" cy="6858000"/>
          </a:xfrm>
          <a:custGeom>
            <a:avLst/>
            <a:gdLst>
              <a:gd name="connsiteX0" fmla="*/ 3629319 w 5724128"/>
              <a:gd name="connsiteY0" fmla="*/ 45244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3629319 w 5724128"/>
              <a:gd name="connsiteY4" fmla="*/ 45244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0 w 5724128"/>
              <a:gd name="connsiteY0" fmla="*/ 514350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4128" h="5143500">
                <a:moveTo>
                  <a:pt x="0" y="514350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9425" y="1592263"/>
            <a:ext cx="5472113" cy="44291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23065" y="6469556"/>
            <a:ext cx="9017451" cy="18769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6240463" y="1592263"/>
            <a:ext cx="5472112" cy="44291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74913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2116721" y="0"/>
            <a:ext cx="10075280" cy="6858000"/>
          </a:xfrm>
          <a:custGeom>
            <a:avLst/>
            <a:gdLst/>
            <a:ahLst/>
            <a:cxnLst/>
            <a:rect l="l" t="t" r="r" b="b"/>
            <a:pathLst>
              <a:path w="7556460" h="5143500">
                <a:moveTo>
                  <a:pt x="2989225" y="0"/>
                </a:moveTo>
                <a:lnTo>
                  <a:pt x="7556460" y="0"/>
                </a:lnTo>
                <a:lnTo>
                  <a:pt x="755646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lIns="90000" tIns="46800" rIns="90000" bIns="46800" rtlCol="0">
            <a:noAutofit/>
          </a:bodyPr>
          <a:lstStyle>
            <a:lvl1pPr marL="239994" indent="-239994" algn="r">
              <a:buNone/>
              <a:defRPr lang="de-DE" dirty="0"/>
            </a:lvl1pPr>
          </a:lstStyle>
          <a:p>
            <a:pPr marL="0" lvl="0" indent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8366" y="1460940"/>
            <a:ext cx="3841436" cy="1139967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78366" y="2650967"/>
            <a:ext cx="3311999" cy="874044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chemeClr val="accent5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785" y="452967"/>
            <a:ext cx="2160000" cy="51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0348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23065" y="6469556"/>
            <a:ext cx="9017451" cy="18769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Inhaltsplatzhalter 2"/>
          <p:cNvSpPr>
            <a:spLocks noGrp="1"/>
          </p:cNvSpPr>
          <p:nvPr>
            <p:ph idx="13"/>
          </p:nvPr>
        </p:nvSpPr>
        <p:spPr>
          <a:xfrm>
            <a:off x="6238925" y="1592263"/>
            <a:ext cx="5473700" cy="44291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8367" y="1653117"/>
            <a:ext cx="5473171" cy="4368271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43257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23065" y="6469556"/>
            <a:ext cx="9017451" cy="18769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Inhaltsplatzhalter 2"/>
          <p:cNvSpPr>
            <a:spLocks noGrp="1"/>
          </p:cNvSpPr>
          <p:nvPr>
            <p:ph idx="13"/>
          </p:nvPr>
        </p:nvSpPr>
        <p:spPr>
          <a:xfrm>
            <a:off x="478367" y="1592264"/>
            <a:ext cx="5473700" cy="442902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239933" y="1653117"/>
            <a:ext cx="5473700" cy="43688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78233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9426" y="377740"/>
            <a:ext cx="5472642" cy="999031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23065" y="6469556"/>
            <a:ext cx="4212000" cy="18769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8" name="Inhaltsplatzhalter 2"/>
          <p:cNvSpPr>
            <a:spLocks noGrp="1"/>
          </p:cNvSpPr>
          <p:nvPr>
            <p:ph idx="13"/>
          </p:nvPr>
        </p:nvSpPr>
        <p:spPr>
          <a:xfrm>
            <a:off x="478367" y="1592264"/>
            <a:ext cx="5473700" cy="442902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239932" y="0"/>
            <a:ext cx="5952067" cy="68580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48519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8"/>
          <p:cNvSpPr>
            <a:spLocks noGrp="1"/>
          </p:cNvSpPr>
          <p:nvPr>
            <p:ph type="pic" sz="quarter" idx="15"/>
          </p:nvPr>
        </p:nvSpPr>
        <p:spPr>
          <a:xfrm>
            <a:off x="6240463" y="1653117"/>
            <a:ext cx="5471534" cy="28321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23065" y="6469556"/>
            <a:ext cx="9017451" cy="18769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Inhaltsplatzhalter 2"/>
          <p:cNvSpPr>
            <a:spLocks noGrp="1"/>
          </p:cNvSpPr>
          <p:nvPr>
            <p:ph idx="13"/>
          </p:nvPr>
        </p:nvSpPr>
        <p:spPr>
          <a:xfrm>
            <a:off x="478367" y="4677139"/>
            <a:ext cx="5473700" cy="1344149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  <a:lvl2pPr>
              <a:spcBef>
                <a:spcPts val="0"/>
              </a:spcBef>
              <a:defRPr sz="1800"/>
            </a:lvl2pPr>
            <a:lvl3pPr>
              <a:spcBef>
                <a:spcPts val="0"/>
              </a:spcBef>
              <a:defRPr sz="1800"/>
            </a:lvl3pPr>
            <a:lvl4pPr>
              <a:spcBef>
                <a:spcPts val="0"/>
              </a:spcBef>
              <a:defRPr sz="1800"/>
            </a:lvl4pPr>
            <a:lvl5pPr>
              <a:defRPr sz="1867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9425" y="1653117"/>
            <a:ext cx="5472113" cy="2832099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6"/>
          </p:nvPr>
        </p:nvSpPr>
        <p:spPr>
          <a:xfrm>
            <a:off x="6238925" y="4677139"/>
            <a:ext cx="5473700" cy="1344149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  <a:lvl2pPr>
              <a:spcBef>
                <a:spcPts val="0"/>
              </a:spcBef>
              <a:defRPr sz="1800"/>
            </a:lvl2pPr>
            <a:lvl3pPr>
              <a:spcBef>
                <a:spcPts val="0"/>
              </a:spcBef>
              <a:defRPr sz="1800"/>
            </a:lvl3pPr>
            <a:lvl4pPr>
              <a:spcBef>
                <a:spcPts val="0"/>
              </a:spcBef>
              <a:defRPr sz="1800"/>
            </a:lvl4pPr>
            <a:lvl5pPr>
              <a:defRPr sz="1867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78275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319804" y="1653118"/>
            <a:ext cx="3553403" cy="2304255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23065" y="6469556"/>
            <a:ext cx="9017451" cy="18769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Inhaltsplatzhalter 2"/>
          <p:cNvSpPr>
            <a:spLocks noGrp="1"/>
          </p:cNvSpPr>
          <p:nvPr>
            <p:ph idx="13"/>
          </p:nvPr>
        </p:nvSpPr>
        <p:spPr>
          <a:xfrm>
            <a:off x="478366" y="4181795"/>
            <a:ext cx="3553405" cy="1840123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  <a:lvl2pPr>
              <a:spcBef>
                <a:spcPts val="0"/>
              </a:spcBef>
              <a:defRPr sz="1800"/>
            </a:lvl2pPr>
            <a:lvl3pPr>
              <a:spcBef>
                <a:spcPts val="0"/>
              </a:spcBef>
              <a:defRPr sz="1800"/>
            </a:lvl3pPr>
            <a:lvl4pPr>
              <a:spcBef>
                <a:spcPts val="0"/>
              </a:spcBef>
              <a:defRPr sz="1800"/>
            </a:lvl4pPr>
            <a:lvl5pPr>
              <a:defRPr sz="1867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8366" y="1653119"/>
            <a:ext cx="3553405" cy="2304253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6"/>
          </p:nvPr>
        </p:nvSpPr>
        <p:spPr>
          <a:xfrm>
            <a:off x="4318795" y="4181795"/>
            <a:ext cx="3553403" cy="1840123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  <a:lvl2pPr>
              <a:spcBef>
                <a:spcPts val="0"/>
              </a:spcBef>
              <a:defRPr sz="1800"/>
            </a:lvl2pPr>
            <a:lvl3pPr>
              <a:spcBef>
                <a:spcPts val="0"/>
              </a:spcBef>
              <a:defRPr sz="1800"/>
            </a:lvl3pPr>
            <a:lvl4pPr>
              <a:spcBef>
                <a:spcPts val="0"/>
              </a:spcBef>
              <a:defRPr sz="1800"/>
            </a:lvl4pPr>
            <a:lvl5pPr>
              <a:defRPr sz="1867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17"/>
          </p:nvPr>
        </p:nvSpPr>
        <p:spPr>
          <a:xfrm>
            <a:off x="8160231" y="1652805"/>
            <a:ext cx="3552395" cy="2304255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8"/>
          </p:nvPr>
        </p:nvSpPr>
        <p:spPr>
          <a:xfrm>
            <a:off x="8159221" y="4181795"/>
            <a:ext cx="3552395" cy="1840123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  <a:lvl2pPr>
              <a:spcBef>
                <a:spcPts val="0"/>
              </a:spcBef>
              <a:defRPr sz="1800"/>
            </a:lvl2pPr>
            <a:lvl3pPr>
              <a:spcBef>
                <a:spcPts val="0"/>
              </a:spcBef>
              <a:defRPr sz="1800"/>
            </a:lvl3pPr>
            <a:lvl4pPr>
              <a:spcBef>
                <a:spcPts val="0"/>
              </a:spcBef>
              <a:defRPr sz="1800"/>
            </a:lvl4pPr>
            <a:lvl5pPr>
              <a:defRPr sz="1867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346998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6261315"/>
            <a:ext cx="12192000" cy="96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30932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23065" y="6469556"/>
            <a:ext cx="9017451" cy="18769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70658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9425" y="476672"/>
            <a:ext cx="11233150" cy="5544716"/>
          </a:xfrm>
          <a:noFill/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23065" y="6469556"/>
            <a:ext cx="9017451" cy="18769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528701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723065" y="6469556"/>
            <a:ext cx="9017451" cy="18769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79735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42162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82" imgH="481" progId="TCLayout.ActiveDocument.1">
                  <p:embed/>
                </p:oleObj>
              </mc:Choice>
              <mc:Fallback>
                <p:oleObj name="think-cell Slide" r:id="rId4" imgW="482" imgH="48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1723065" y="6469556"/>
            <a:ext cx="9017451" cy="18769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804785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97510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15" imgH="414" progId="TCLayout.ActiveDocument.1">
                  <p:embed/>
                </p:oleObj>
              </mc:Choice>
              <mc:Fallback>
                <p:oleObj name="think-cell Slide" r:id="rId5" imgW="415" imgH="41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>
          <a:xfrm>
            <a:off x="1723065" y="6469556"/>
            <a:ext cx="9017451" cy="187694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HUS4 project update | PSM March 2022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11424592" y="6470315"/>
            <a:ext cx="504056" cy="186884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6F8FB6F3-B5FF-45F4-8AF2-2669C315E95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Master title</a:t>
            </a:r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777989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4559829" y="0"/>
            <a:ext cx="7632171" cy="6858000"/>
          </a:xfrm>
          <a:custGeom>
            <a:avLst/>
            <a:gdLst/>
            <a:ahLst/>
            <a:cxnLst/>
            <a:rect l="l" t="t" r="r" b="b"/>
            <a:pathLst>
              <a:path w="5724128" h="5143500">
                <a:moveTo>
                  <a:pt x="2989225" y="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lIns="90000" tIns="46800" rIns="90000" bIns="46800" rtlCol="0">
            <a:noAutofit/>
          </a:bodyPr>
          <a:lstStyle>
            <a:lvl1pPr marL="239994" indent="-239994" algn="r">
              <a:buNone/>
              <a:defRPr lang="de-DE" dirty="0"/>
            </a:lvl1pPr>
          </a:lstStyle>
          <a:p>
            <a:pPr marL="0" lvl="0" indent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8365" y="1460941"/>
            <a:ext cx="5761651" cy="1608019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78365" y="3140969"/>
            <a:ext cx="5761651" cy="874044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chemeClr val="accent5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785" y="452967"/>
            <a:ext cx="2160000" cy="51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2838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/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87979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15" imgH="414" progId="TCLayout.ActiveDocument.1">
                  <p:embed/>
                </p:oleObj>
              </mc:Choice>
              <mc:Fallback>
                <p:oleObj name="think-cell Slide" r:id="rId5" imgW="415" imgH="41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9425" y="377741"/>
            <a:ext cx="11233150" cy="498244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723065" y="6469556"/>
            <a:ext cx="9017451" cy="18769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HUS4 project update | PSM March 2022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5C59004-476F-4FD2-8481-2B6532130C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911336"/>
            <a:ext cx="11233150" cy="379641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5"/>
                </a:solidFill>
              </a:defRPr>
            </a:lvl1pPr>
            <a:lvl2pPr marL="239994" indent="0">
              <a:buFontTx/>
              <a:buNone/>
              <a:defRPr/>
            </a:lvl2pPr>
            <a:lvl3pPr marL="479988" indent="0">
              <a:buFontTx/>
              <a:buNone/>
              <a:defRPr/>
            </a:lvl3pPr>
            <a:lvl4pPr marL="719982" indent="0">
              <a:buFontTx/>
              <a:buNone/>
              <a:defRPr/>
            </a:lvl4pPr>
            <a:lvl5pPr marL="959976" indent="0">
              <a:buFontTx/>
              <a:buNone/>
              <a:defRPr/>
            </a:lvl5pPr>
          </a:lstStyle>
          <a:p>
            <a:pPr lvl="0"/>
            <a:r>
              <a:rPr lang="en-US"/>
              <a:t>Click to edit subtitl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439206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nd pictur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73445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415" imgH="414" progId="TCLayout.ActiveDocument.1">
                  <p:embed/>
                </p:oleObj>
              </mc:Choice>
              <mc:Fallback>
                <p:oleObj name="think-cell Slide" r:id="rId5" imgW="415" imgH="41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8"/>
          <p:cNvSpPr>
            <a:spLocks noGrp="1"/>
          </p:cNvSpPr>
          <p:nvPr>
            <p:ph type="pic" sz="quarter" idx="15"/>
          </p:nvPr>
        </p:nvSpPr>
        <p:spPr>
          <a:xfrm>
            <a:off x="6240463" y="1653117"/>
            <a:ext cx="5471534" cy="28321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23065" y="6469556"/>
            <a:ext cx="9017451" cy="18769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HUS4 project update | PSM March 2022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Inhaltsplatzhalter 2"/>
          <p:cNvSpPr>
            <a:spLocks noGrp="1"/>
          </p:cNvSpPr>
          <p:nvPr>
            <p:ph idx="13"/>
          </p:nvPr>
        </p:nvSpPr>
        <p:spPr>
          <a:xfrm>
            <a:off x="478367" y="4677139"/>
            <a:ext cx="5473700" cy="1344149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  <a:lvl2pPr>
              <a:spcBef>
                <a:spcPts val="0"/>
              </a:spcBef>
              <a:defRPr sz="1800"/>
            </a:lvl2pPr>
            <a:lvl3pPr>
              <a:spcBef>
                <a:spcPts val="0"/>
              </a:spcBef>
              <a:defRPr sz="1800"/>
            </a:lvl3pPr>
            <a:lvl4pPr>
              <a:spcBef>
                <a:spcPts val="0"/>
              </a:spcBef>
              <a:defRPr sz="1800"/>
            </a:lvl4pPr>
            <a:lvl5pPr>
              <a:defRPr sz="1867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9425" y="1653117"/>
            <a:ext cx="5472113" cy="2832099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3" name="Inhaltsplatzhalter 2"/>
          <p:cNvSpPr>
            <a:spLocks noGrp="1"/>
          </p:cNvSpPr>
          <p:nvPr>
            <p:ph idx="16"/>
          </p:nvPr>
        </p:nvSpPr>
        <p:spPr>
          <a:xfrm>
            <a:off x="6238925" y="4677139"/>
            <a:ext cx="5473700" cy="1344149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  <a:lvl2pPr>
              <a:spcBef>
                <a:spcPts val="0"/>
              </a:spcBef>
              <a:defRPr sz="1800"/>
            </a:lvl2pPr>
            <a:lvl3pPr>
              <a:spcBef>
                <a:spcPts val="0"/>
              </a:spcBef>
              <a:defRPr sz="1800"/>
            </a:lvl3pPr>
            <a:lvl4pPr>
              <a:spcBef>
                <a:spcPts val="0"/>
              </a:spcBef>
              <a:defRPr sz="1800"/>
            </a:lvl4pPr>
            <a:lvl5pPr>
              <a:defRPr sz="1867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15199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0"/>
            <a:ext cx="12192000" cy="6309613"/>
          </a:xfrm>
          <a:prstGeom prst="rect">
            <a:avLst/>
          </a:prstGeom>
          <a:solidFill>
            <a:srgbClr val="7572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723065" y="6481448"/>
            <a:ext cx="6197137" cy="16390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HUS4 project update | PSM March 2022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8366" y="1613182"/>
            <a:ext cx="7032400" cy="1572174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</a:t>
            </a:r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43BF26A3-05FA-4FA3-AD70-9BB901774A4B}"/>
              </a:ext>
            </a:extLst>
          </p:cNvPr>
          <p:cNvSpPr/>
          <p:nvPr userDrawn="1"/>
        </p:nvSpPr>
        <p:spPr>
          <a:xfrm>
            <a:off x="7624055" y="1200987"/>
            <a:ext cx="2046995" cy="3427412"/>
          </a:xfrm>
          <a:prstGeom prst="parallelogram">
            <a:avLst>
              <a:gd name="adj" fmla="val 9714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err="1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5667255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hart 02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C65D61-31D9-4A34-811A-939C97205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HUS4 project update | PSM March 2022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MIO_VALID_LAYOUT" hidden="1"/>
          <p:cNvSpPr/>
          <p:nvPr/>
        </p:nvSpPr>
        <p:spPr bwMode="gray">
          <a:xfrm>
            <a:off x="11717717" y="-15733"/>
            <a:ext cx="474283" cy="393473"/>
          </a:xfrm>
          <a:prstGeom prst="noSmoking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407989" y="2371862"/>
            <a:ext cx="11376024" cy="2964026"/>
          </a:xfrm>
          <a:solidFill>
            <a:srgbClr val="DDDBDD"/>
          </a:solidFill>
        </p:spPr>
        <p:txBody>
          <a:bodyPr tIns="972000"/>
          <a:lstStyle>
            <a:lvl1pPr marL="0" indent="0" algn="ctr">
              <a:buNone/>
              <a:defRPr sz="1400" baseline="0"/>
            </a:lvl1pPr>
          </a:lstStyle>
          <a:p>
            <a:r>
              <a:rPr lang="en-US"/>
              <a:t>Chart (14 pts.)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9A7F9E1-2199-440E-A8D2-7B49855E7D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05931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silhouetted pictur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352000" y="0"/>
            <a:ext cx="6840000" cy="6858000"/>
          </a:xfrm>
          <a:noFill/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8365" y="1460941"/>
            <a:ext cx="3841200" cy="11412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78365" y="2649600"/>
            <a:ext cx="3311999" cy="874800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chemeClr val="accent5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785" y="452967"/>
            <a:ext cx="2160000" cy="51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009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8365" y="1460941"/>
            <a:ext cx="5761651" cy="1608019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78365" y="3140969"/>
            <a:ext cx="5761651" cy="874044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chemeClr val="accent5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6" name="Rechteck 7"/>
          <p:cNvSpPr/>
          <p:nvPr userDrawn="1"/>
        </p:nvSpPr>
        <p:spPr>
          <a:xfrm>
            <a:off x="4559829" y="0"/>
            <a:ext cx="7632171" cy="6858000"/>
          </a:xfrm>
          <a:custGeom>
            <a:avLst/>
            <a:gdLst/>
            <a:ahLst/>
            <a:cxnLst/>
            <a:rect l="l" t="t" r="r" b="b"/>
            <a:pathLst>
              <a:path w="5724128" h="5143500">
                <a:moveTo>
                  <a:pt x="2989225" y="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785" y="452967"/>
            <a:ext cx="2160000" cy="51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5190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572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8364" y="2531113"/>
            <a:ext cx="8280000" cy="115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78364" y="3717032"/>
            <a:ext cx="8280000" cy="900000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785" y="452967"/>
            <a:ext cx="2160000" cy="51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629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8364" y="2531113"/>
            <a:ext cx="8280000" cy="115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78364" y="3717032"/>
            <a:ext cx="8280000" cy="900000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chemeClr val="accent5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785" y="452967"/>
            <a:ext cx="2160000" cy="51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12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e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478366" y="6261315"/>
            <a:ext cx="1133026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9" name="object 3"/>
          <p:cNvSpPr/>
          <p:nvPr userDrawn="1"/>
        </p:nvSpPr>
        <p:spPr>
          <a:xfrm>
            <a:off x="0" y="0"/>
            <a:ext cx="12192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723065" y="6481448"/>
            <a:ext cx="6197137" cy="16390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8365" y="1613182"/>
            <a:ext cx="8641971" cy="1572174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80974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evid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0"/>
            <a:ext cx="12192000" cy="6309613"/>
          </a:xfrm>
          <a:prstGeom prst="rect">
            <a:avLst/>
          </a:prstGeom>
          <a:solidFill>
            <a:srgbClr val="7572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723065" y="6481448"/>
            <a:ext cx="6197137" cy="16390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HUS4 project update | PSM March 2022</a:t>
            </a:r>
            <a:endParaRPr lang="en-US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8365" y="1613182"/>
            <a:ext cx="8641971" cy="1572174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38429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42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Relationship Id="rId43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4819486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0" imgW="482" imgH="481" progId="TCLayout.ActiveDocument.1">
                  <p:embed/>
                </p:oleObj>
              </mc:Choice>
              <mc:Fallback>
                <p:oleObj name="think-cell Slide" r:id="rId40" imgW="482" imgH="4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79425" y="377740"/>
            <a:ext cx="11232571" cy="9990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79426" y="1592263"/>
            <a:ext cx="11233150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785" y="6467605"/>
            <a:ext cx="864000" cy="205286"/>
          </a:xfrm>
          <a:prstGeom prst="rect">
            <a:avLst/>
          </a:prstGeom>
        </p:spPr>
      </p:pic>
      <p:pic>
        <p:nvPicPr>
          <p:cNvPr id="4" name="Bild 3"/>
          <p:cNvPicPr>
            <a:picLocks noChangeAspect="1"/>
          </p:cNvPicPr>
          <p:nvPr userDrawn="1"/>
        </p:nvPicPr>
        <p:blipFill>
          <a:blip r:embed="rId43"/>
          <a:stretch>
            <a:fillRect/>
          </a:stretch>
        </p:blipFill>
        <p:spPr>
          <a:xfrm>
            <a:off x="11208568" y="6468070"/>
            <a:ext cx="144643" cy="216965"/>
          </a:xfrm>
          <a:prstGeom prst="rect">
            <a:avLst/>
          </a:prstGeom>
        </p:spPr>
      </p:pic>
      <p:sp>
        <p:nvSpPr>
          <p:cNvPr id="7" name="empower - DO NOT DELETE!!!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1373778270"/>
              </p:ext>
            </p:extLst>
          </p:nvPr>
        </p:nvGraphicFramePr>
        <p:xfrm>
          <a:off x="153988" y="1539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4" imgW="482" imgH="481" progId="TCLayout.ActiveDocument.1">
                  <p:embed/>
                </p:oleObj>
              </mc:Choice>
              <mc:Fallback>
                <p:oleObj name="think-cell Slide" r:id="rId44" imgW="482" imgH="481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3988" y="1539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mpower - DO NOT DELETE!!!" hidden="1"/>
          <p:cNvSpPr/>
          <p:nvPr userDrawn="1">
            <p:custDataLst>
              <p:tags r:id="rId3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8D3AF27C-683B-4C44-820D-C6A0EF8892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592" y="6470315"/>
            <a:ext cx="504056" cy="18688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22B53502-8A7D-4860-95AE-34F66C56384C}"/>
              </a:ext>
            </a:extLst>
          </p:cNvPr>
          <p:cNvSpPr txBox="1">
            <a:spLocks/>
          </p:cNvSpPr>
          <p:nvPr userDrawn="1"/>
        </p:nvSpPr>
        <p:spPr>
          <a:xfrm>
            <a:off x="1723065" y="6469556"/>
            <a:ext cx="9017451" cy="187694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dirty="0"/>
              <a:t>Kombinace mechanické a chemické kotvy </a:t>
            </a:r>
            <a:r>
              <a:rPr lang="cs-CZ" sz="1200"/>
              <a:t>– Sympozium </a:t>
            </a:r>
            <a:r>
              <a:rPr lang="cs-CZ" sz="1200" dirty="0"/>
              <a:t>MOSTY 2022 </a:t>
            </a:r>
            <a:r>
              <a:rPr lang="en-US" sz="1200" dirty="0"/>
              <a:t>| </a:t>
            </a:r>
            <a:r>
              <a:rPr lang="cs-CZ" sz="1200" dirty="0"/>
              <a:t>06/2022</a:t>
            </a:r>
            <a:endParaRPr lang="en-US" sz="1200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46650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88" r:id="rId2"/>
    <p:sldLayoutId id="2147483689" r:id="rId3"/>
    <p:sldLayoutId id="2147483690" r:id="rId4"/>
    <p:sldLayoutId id="2147483691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0" r:id="rId23"/>
    <p:sldLayoutId id="2147483711" r:id="rId24"/>
    <p:sldLayoutId id="2147483712" r:id="rId25"/>
    <p:sldLayoutId id="2147483713" r:id="rId26"/>
    <p:sldLayoutId id="2147483714" r:id="rId27"/>
    <p:sldLayoutId id="2147483715" r:id="rId28"/>
    <p:sldLayoutId id="2147483716" r:id="rId29"/>
    <p:sldLayoutId id="2147483717" r:id="rId30"/>
    <p:sldLayoutId id="2147483719" r:id="rId31"/>
    <p:sldLayoutId id="2147483721" r:id="rId32"/>
    <p:sldLayoutId id="2147483723" r:id="rId33"/>
  </p:sldLayoutIdLst>
  <p:hf hdr="0" ftr="0" dt="0"/>
  <p:txStyles>
    <p:titleStyle>
      <a:lvl1pPr algn="l" defTabSz="1219170" rtl="0" eaLnBrk="1" latinLnBrk="0" hangingPunct="1">
        <a:lnSpc>
          <a:spcPts val="3270"/>
        </a:lnSpc>
        <a:spcBef>
          <a:spcPct val="0"/>
        </a:spcBef>
        <a:buNone/>
        <a:defRPr sz="30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41200" indent="-241200" algn="l" defTabSz="1219170" rtl="0" eaLnBrk="1" latinLnBrk="0" hangingPunct="1">
        <a:lnSpc>
          <a:spcPct val="107000"/>
        </a:lnSpc>
        <a:spcBef>
          <a:spcPts val="1000"/>
        </a:spcBef>
        <a:buClr>
          <a:schemeClr val="accent4">
            <a:lumMod val="60000"/>
            <a:lumOff val="40000"/>
          </a:schemeClr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78800" indent="-239994" algn="l" defTabSz="1219170" rtl="0" eaLnBrk="1" latinLnBrk="0" hangingPunct="1">
        <a:lnSpc>
          <a:spcPct val="107000"/>
        </a:lnSpc>
        <a:spcBef>
          <a:spcPts val="600"/>
        </a:spcBef>
        <a:buClr>
          <a:schemeClr val="bg1">
            <a:lumMod val="65000"/>
          </a:schemeClr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239994" algn="l" defTabSz="1219170" rtl="0" eaLnBrk="1" latinLnBrk="0" hangingPunct="1">
        <a:spcBef>
          <a:spcPts val="600"/>
        </a:spcBef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61200" indent="-239994" algn="l" defTabSz="1219170" rtl="0" eaLnBrk="1" latinLnBrk="0" hangingPunct="1">
        <a:spcBef>
          <a:spcPts val="600"/>
        </a:spcBef>
        <a:buClr>
          <a:schemeClr val="bg1">
            <a:lumMod val="65000"/>
          </a:schemeClr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98800" indent="-241200" algn="l" defTabSz="1219170" rtl="0" eaLnBrk="1" latinLnBrk="0" hangingPunct="1">
        <a:spcBef>
          <a:spcPts val="600"/>
        </a:spcBef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98800" indent="-241200" algn="l" defTabSz="1219170" rtl="0" eaLnBrk="1" latinLnBrk="0" hangingPunct="1">
        <a:spcBef>
          <a:spcPts val="600"/>
        </a:spcBef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198800" indent="-241200" algn="l" defTabSz="1219170" rtl="0" eaLnBrk="1" latinLnBrk="0" hangingPunct="1">
        <a:spcBef>
          <a:spcPts val="600"/>
        </a:spcBef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198800" indent="-241200" algn="l" defTabSz="1219170" rtl="0" eaLnBrk="1" latinLnBrk="0" hangingPunct="1">
        <a:spcBef>
          <a:spcPts val="600"/>
        </a:spcBef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957600" indent="0" algn="l" defTabSz="1219170" rtl="0" eaLnBrk="1" latinLnBrk="0" hangingPunct="1">
        <a:spcBef>
          <a:spcPts val="600"/>
        </a:spcBef>
        <a:buClr>
          <a:schemeClr val="bg1">
            <a:lumMod val="65000"/>
          </a:schemeClr>
        </a:buClr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03">
          <p15:clr>
            <a:srgbClr val="F26B43"/>
          </p15:clr>
        </p15:guide>
        <p15:guide id="2" pos="3749">
          <p15:clr>
            <a:srgbClr val="F26B43"/>
          </p15:clr>
        </p15:guide>
        <p15:guide id="3" pos="3931">
          <p15:clr>
            <a:srgbClr val="F26B43"/>
          </p15:clr>
        </p15:guide>
        <p15:guide id="4" pos="7378">
          <p15:clr>
            <a:srgbClr val="F26B43"/>
          </p15:clr>
        </p15:guide>
        <p15:guide id="5" pos="302">
          <p15:clr>
            <a:srgbClr val="F26B43"/>
          </p15:clr>
        </p15:guide>
        <p15:guide id="6" orient="horz" pos="37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5.emf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36.png"/><Relationship Id="rId2" Type="http://schemas.openxmlformats.org/officeDocument/2006/relationships/tags" Target="../tags/tag3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41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0.jpg"/><Relationship Id="rId5" Type="http://schemas.openxmlformats.org/officeDocument/2006/relationships/image" Target="../media/image7.emf"/><Relationship Id="rId10" Type="http://schemas.openxmlformats.org/officeDocument/2006/relationships/image" Target="../media/image44.jpe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43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tags" Target="../tags/tag44.xml"/><Relationship Id="rId7" Type="http://schemas.openxmlformats.org/officeDocument/2006/relationships/image" Target="../media/image45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1.bin"/><Relationship Id="rId11" Type="http://schemas.openxmlformats.org/officeDocument/2006/relationships/image" Target="../media/image49.jpe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48.jpg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47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emf"/><Relationship Id="rId3" Type="http://schemas.openxmlformats.org/officeDocument/2006/relationships/tags" Target="../tags/tag46.xml"/><Relationship Id="rId7" Type="http://schemas.openxmlformats.org/officeDocument/2006/relationships/oleObject" Target="../embeddings/oleObject22.bin"/><Relationship Id="rId2" Type="http://schemas.openxmlformats.org/officeDocument/2006/relationships/tags" Target="../tags/tag45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32.xml"/><Relationship Id="rId4" Type="http://schemas.openxmlformats.org/officeDocument/2006/relationships/tags" Target="../tags/tag4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9.emf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8.jpeg"/><Relationship Id="rId2" Type="http://schemas.openxmlformats.org/officeDocument/2006/relationships/tags" Target="../tags/tag20.xml"/><Relationship Id="rId16" Type="http://schemas.openxmlformats.org/officeDocument/2006/relationships/image" Target="../media/image12.jpeg"/><Relationship Id="rId1" Type="http://schemas.openxmlformats.org/officeDocument/2006/relationships/vmlDrawing" Target="../drawings/vmlDrawing9.vml"/><Relationship Id="rId6" Type="http://schemas.openxmlformats.org/officeDocument/2006/relationships/tags" Target="../tags/tag24.xml"/><Relationship Id="rId11" Type="http://schemas.openxmlformats.org/officeDocument/2006/relationships/image" Target="../media/image7.emf"/><Relationship Id="rId5" Type="http://schemas.openxmlformats.org/officeDocument/2006/relationships/tags" Target="../tags/tag23.xml"/><Relationship Id="rId15" Type="http://schemas.openxmlformats.org/officeDocument/2006/relationships/image" Target="../media/image11.jpeg"/><Relationship Id="rId10" Type="http://schemas.openxmlformats.org/officeDocument/2006/relationships/oleObject" Target="../embeddings/oleObject10.bin"/><Relationship Id="rId4" Type="http://schemas.openxmlformats.org/officeDocument/2006/relationships/tags" Target="../tags/tag22.xml"/><Relationship Id="rId9" Type="http://schemas.openxmlformats.org/officeDocument/2006/relationships/slideLayout" Target="../slideLayouts/slideLayout27.xml"/><Relationship Id="rId1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8.xml"/><Relationship Id="rId7" Type="http://schemas.openxmlformats.org/officeDocument/2006/relationships/image" Target="../media/image1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9.png"/><Relationship Id="rId3" Type="http://schemas.openxmlformats.org/officeDocument/2006/relationships/tags" Target="../tags/tag30.xml"/><Relationship Id="rId7" Type="http://schemas.openxmlformats.org/officeDocument/2006/relationships/image" Target="../media/image7.emf"/><Relationship Id="rId12" Type="http://schemas.openxmlformats.org/officeDocument/2006/relationships/image" Target="../media/image1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2.bin"/><Relationship Id="rId11" Type="http://schemas.openxmlformats.org/officeDocument/2006/relationships/image" Target="../media/image17.png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16.jpeg"/><Relationship Id="rId4" Type="http://schemas.openxmlformats.org/officeDocument/2006/relationships/tags" Target="../tags/tag31.xml"/><Relationship Id="rId9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3.xml"/><Relationship Id="rId7" Type="http://schemas.openxmlformats.org/officeDocument/2006/relationships/image" Target="../media/image13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5.jpeg"/><Relationship Id="rId3" Type="http://schemas.openxmlformats.org/officeDocument/2006/relationships/tags" Target="../tags/tag35.xml"/><Relationship Id="rId7" Type="http://schemas.openxmlformats.org/officeDocument/2006/relationships/image" Target="../media/image20.emf"/><Relationship Id="rId12" Type="http://schemas.openxmlformats.org/officeDocument/2006/relationships/image" Target="../media/image24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23.png"/><Relationship Id="rId5" Type="http://schemas.openxmlformats.org/officeDocument/2006/relationships/notesSlide" Target="../notesSlides/notesSlide2.xml"/><Relationship Id="rId10" Type="http://schemas.microsoft.com/office/2007/relationships/hdphoto" Target="../media/hdphoto2.wdp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video" Target="NULL" TargetMode="External"/><Relationship Id="rId7" Type="http://schemas.openxmlformats.org/officeDocument/2006/relationships/image" Target="../media/image7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5.bin"/><Relationship Id="rId5" Type="http://schemas.openxmlformats.org/officeDocument/2006/relationships/slideLayout" Target="../slideLayouts/slideLayout29.xml"/><Relationship Id="rId10" Type="http://schemas.openxmlformats.org/officeDocument/2006/relationships/image" Target="../media/image28.png"/><Relationship Id="rId4" Type="http://schemas.microsoft.com/office/2007/relationships/media" Target="../media/media1.mp4"/><Relationship Id="rId9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13" Type="http://schemas.openxmlformats.org/officeDocument/2006/relationships/image" Target="../media/image33.png"/><Relationship Id="rId3" Type="http://schemas.openxmlformats.org/officeDocument/2006/relationships/tags" Target="../tags/tag38.xml"/><Relationship Id="rId7" Type="http://schemas.openxmlformats.org/officeDocument/2006/relationships/image" Target="../media/image20.emf"/><Relationship Id="rId12" Type="http://schemas.openxmlformats.org/officeDocument/2006/relationships/image" Target="../media/image32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6.bin"/><Relationship Id="rId11" Type="http://schemas.microsoft.com/office/2007/relationships/hdphoto" Target="../media/hdphoto3.wdp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35.png"/><Relationship Id="rId10" Type="http://schemas.openxmlformats.org/officeDocument/2006/relationships/image" Target="../media/image31.png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30.jpeg"/><Relationship Id="rId1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727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cs-CZ" sz="400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Freihandform: Form 8"/>
          <p:cNvSpPr/>
          <p:nvPr/>
        </p:nvSpPr>
        <p:spPr>
          <a:xfrm>
            <a:off x="4325510" y="-7951"/>
            <a:ext cx="4238045" cy="6854024"/>
          </a:xfrm>
          <a:custGeom>
            <a:avLst/>
            <a:gdLst>
              <a:gd name="connsiteX0" fmla="*/ 254441 w 4238045"/>
              <a:gd name="connsiteY0" fmla="*/ 6854024 h 6854024"/>
              <a:gd name="connsiteX1" fmla="*/ 4238045 w 4238045"/>
              <a:gd name="connsiteY1" fmla="*/ 0 h 6854024"/>
              <a:gd name="connsiteX2" fmla="*/ 95415 w 4238045"/>
              <a:gd name="connsiteY2" fmla="*/ 0 h 6854024"/>
              <a:gd name="connsiteX3" fmla="*/ 0 w 4238045"/>
              <a:gd name="connsiteY3" fmla="*/ 6846073 h 6854024"/>
              <a:gd name="connsiteX4" fmla="*/ 254441 w 4238045"/>
              <a:gd name="connsiteY4" fmla="*/ 6854024 h 6854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38045" h="6854024">
                <a:moveTo>
                  <a:pt x="254441" y="6854024"/>
                </a:moveTo>
                <a:lnTo>
                  <a:pt x="4238045" y="0"/>
                </a:lnTo>
                <a:lnTo>
                  <a:pt x="95415" y="0"/>
                </a:lnTo>
                <a:lnTo>
                  <a:pt x="0" y="6846073"/>
                </a:lnTo>
                <a:lnTo>
                  <a:pt x="254441" y="68540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479425" y="4030733"/>
            <a:ext cx="5094003" cy="2357997"/>
          </a:xfrm>
        </p:spPr>
        <p:txBody>
          <a:bodyPr/>
          <a:lstStyle/>
          <a:p>
            <a:r>
              <a:rPr lang="sk-SK" dirty="0"/>
              <a:t>Ing. Daniel </a:t>
            </a:r>
            <a:r>
              <a:rPr lang="sk-SK" dirty="0" err="1"/>
              <a:t>Mikeš</a:t>
            </a:r>
            <a:endParaRPr lang="sk-SK" dirty="0"/>
          </a:p>
          <a:p>
            <a:endParaRPr lang="sk-SK" dirty="0"/>
          </a:p>
          <a:p>
            <a:r>
              <a:rPr lang="sk-SK" dirty="0"/>
              <a:t>Hilti ČR, spol. s.r.o.</a:t>
            </a:r>
          </a:p>
          <a:p>
            <a:endParaRPr lang="sk-SK" dirty="0"/>
          </a:p>
          <a:p>
            <a:endParaRPr lang="sk-SK" dirty="0"/>
          </a:p>
          <a:p>
            <a:r>
              <a:rPr lang="sk-SK" dirty="0" err="1"/>
              <a:t>Sympozium</a:t>
            </a:r>
            <a:r>
              <a:rPr lang="sk-SK" dirty="0"/>
              <a:t> MOSTY 2022</a:t>
            </a:r>
            <a:endParaRPr lang="de-DE" dirty="0"/>
          </a:p>
        </p:txBody>
      </p:sp>
      <p:sp>
        <p:nvSpPr>
          <p:cNvPr id="2" name="Freihandform 1"/>
          <p:cNvSpPr/>
          <p:nvPr/>
        </p:nvSpPr>
        <p:spPr>
          <a:xfrm>
            <a:off x="3817856" y="5790"/>
            <a:ext cx="4751109" cy="6730031"/>
          </a:xfrm>
          <a:custGeom>
            <a:avLst/>
            <a:gdLst>
              <a:gd name="connsiteX0" fmla="*/ 113121 w 4751109"/>
              <a:gd name="connsiteY0" fmla="*/ 28281 h 6853287"/>
              <a:gd name="connsiteX1" fmla="*/ 18853 w 4751109"/>
              <a:gd name="connsiteY1" fmla="*/ 0 h 6853287"/>
              <a:gd name="connsiteX2" fmla="*/ 0 w 4751109"/>
              <a:gd name="connsiteY2" fmla="*/ 6853287 h 6853287"/>
              <a:gd name="connsiteX3" fmla="*/ 763571 w 4751109"/>
              <a:gd name="connsiteY3" fmla="*/ 6853287 h 6853287"/>
              <a:gd name="connsiteX4" fmla="*/ 4751109 w 4751109"/>
              <a:gd name="connsiteY4" fmla="*/ 0 h 6853287"/>
              <a:gd name="connsiteX5" fmla="*/ 18853 w 4751109"/>
              <a:gd name="connsiteY5" fmla="*/ 9427 h 6853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1109" h="6853287">
                <a:moveTo>
                  <a:pt x="113121" y="28281"/>
                </a:moveTo>
                <a:lnTo>
                  <a:pt x="18853" y="0"/>
                </a:lnTo>
                <a:cubicBezTo>
                  <a:pt x="12569" y="2284429"/>
                  <a:pt x="6284" y="4568858"/>
                  <a:pt x="0" y="6853287"/>
                </a:cubicBezTo>
                <a:lnTo>
                  <a:pt x="763571" y="6853287"/>
                </a:lnTo>
                <a:lnTo>
                  <a:pt x="4751109" y="0"/>
                </a:lnTo>
                <a:lnTo>
                  <a:pt x="18853" y="9427"/>
                </a:lnTo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479425" y="1585513"/>
            <a:ext cx="6835775" cy="2357997"/>
          </a:xfrm>
        </p:spPr>
        <p:txBody>
          <a:bodyPr vert="horz"/>
          <a:lstStyle/>
          <a:p>
            <a:r>
              <a:rPr lang="cs-CZ" dirty="0"/>
              <a:t>KOMBINACE MECHANICKÉ A CHEMICKÉ KOTVY</a:t>
            </a:r>
          </a:p>
        </p:txBody>
      </p:sp>
      <p:sp>
        <p:nvSpPr>
          <p:cNvPr id="7" name="Zástupný symbol obrázku 6">
            <a:extLst>
              <a:ext uri="{FF2B5EF4-FFF2-40B4-BE49-F238E27FC236}">
                <a16:creationId xmlns:a16="http://schemas.microsoft.com/office/drawing/2014/main" id="{1D005186-50D5-421C-89D9-B7E3EDF954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10" name="Zástupný symbol obrázku 2">
            <a:extLst>
              <a:ext uri="{FF2B5EF4-FFF2-40B4-BE49-F238E27FC236}">
                <a16:creationId xmlns:a16="http://schemas.microsoft.com/office/drawing/2014/main" id="{E04B2F4C-6380-40DC-9FEF-C016E1AA8B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8" r="12918"/>
          <a:stretch>
            <a:fillRect/>
          </a:stretch>
        </p:blipFill>
        <p:spPr>
          <a:xfrm>
            <a:off x="4559829" y="13741"/>
            <a:ext cx="7632171" cy="6858000"/>
          </a:xfrm>
          <a:custGeom>
            <a:avLst/>
            <a:gdLst/>
            <a:ahLst/>
            <a:cxnLst/>
            <a:rect l="l" t="t" r="r" b="b"/>
            <a:pathLst>
              <a:path w="5724128" h="5143500">
                <a:moveTo>
                  <a:pt x="2989225" y="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1108792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7618318-BFBC-48C5-A861-DA901DD96D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1686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7618318-BFBC-48C5-A861-DA901DD96D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530D046C-C37D-4DB5-9A68-5D063C132A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sz="2400" u="sng" dirty="0">
                <a:solidFill>
                  <a:schemeClr val="tx1"/>
                </a:solidFill>
              </a:rPr>
              <a:t>POROVNÁNÍ NÁVRHOVÉ ÚNOSNOSTI PRO ROZMĚR M10:</a:t>
            </a:r>
            <a:endParaRPr lang="en-US" sz="2400" u="sng" dirty="0">
              <a:solidFill>
                <a:schemeClr val="tx1"/>
              </a:solidFill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D3AAE51D-9803-4ABC-A3AF-2432C79ED782}"/>
              </a:ext>
            </a:extLst>
          </p:cNvPr>
          <p:cNvSpPr/>
          <p:nvPr/>
        </p:nvSpPr>
        <p:spPr>
          <a:xfrm>
            <a:off x="453127" y="1453697"/>
            <a:ext cx="6565982" cy="43542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cs-CZ" sz="1400" b="1" dirty="0">
                <a:solidFill>
                  <a:srgbClr val="000000"/>
                </a:solidFill>
                <a:latin typeface="Arial" panose="020B0604020202020204" pitchFamily="34" charset="0"/>
              </a:rPr>
              <a:t>Samostatná kotva</a:t>
            </a:r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</a:rPr>
              <a:t> –  </a:t>
            </a:r>
            <a:r>
              <a:rPr lang="cs-CZ" sz="1400" b="1" dirty="0">
                <a:solidFill>
                  <a:srgbClr val="000000"/>
                </a:solidFill>
                <a:latin typeface="Arial" panose="020B0604020202020204" pitchFamily="34" charset="0"/>
              </a:rPr>
              <a:t>porovnání únosnosti</a:t>
            </a:r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</p:txBody>
      </p:sp>
      <p:pic>
        <p:nvPicPr>
          <p:cNvPr id="48" name="Grafik 47">
            <a:extLst>
              <a:ext uri="{FF2B5EF4-FFF2-40B4-BE49-F238E27FC236}">
                <a16:creationId xmlns:a16="http://schemas.microsoft.com/office/drawing/2014/main" id="{9CCCA920-DA44-419E-B765-56809A7710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425" y="2036481"/>
            <a:ext cx="6770916" cy="398490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F213F66-9CF7-49A6-9D36-4702264860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68205" y="2542566"/>
            <a:ext cx="3580869" cy="252128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D6C4D71-6804-44CA-B73A-A02488F0B396}"/>
              </a:ext>
            </a:extLst>
          </p:cNvPr>
          <p:cNvSpPr/>
          <p:nvPr/>
        </p:nvSpPr>
        <p:spPr>
          <a:xfrm>
            <a:off x="7949650" y="1453697"/>
            <a:ext cx="3799424" cy="43542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cs-CZ" sz="1400" b="1" dirty="0">
                <a:solidFill>
                  <a:srgbClr val="000000"/>
                </a:solidFill>
                <a:latin typeface="Arial" panose="020B0604020202020204" pitchFamily="34" charset="0"/>
              </a:rPr>
              <a:t>Typ řešení</a:t>
            </a:r>
            <a:endParaRPr lang="en-US" sz="14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218DBBD8-5D52-43B3-BAB9-543F848AC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10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02017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9D6FD3-EF4C-46B3-908B-BA7566CFAB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9D6FD3-EF4C-46B3-908B-BA7566CFA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70CC04D-D1DE-4543-8BA4-1A08827FF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823106"/>
            <a:ext cx="11233150" cy="498244"/>
          </a:xfrm>
        </p:spPr>
        <p:txBody>
          <a:bodyPr vert="horz"/>
          <a:lstStyle/>
          <a:p>
            <a:r>
              <a:rPr lang="cs-CZ" sz="2400" u="sng" dirty="0">
                <a:solidFill>
                  <a:schemeClr val="tx1"/>
                </a:solidFill>
              </a:rPr>
              <a:t>Možnost použití stejného otvoru při doplnění kapsle:</a:t>
            </a:r>
            <a:endParaRPr lang="en-US" sz="2400" u="sng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6C4DEFA-47B9-4884-847E-E6331F821425}"/>
              </a:ext>
            </a:extLst>
          </p:cNvPr>
          <p:cNvSpPr/>
          <p:nvPr/>
        </p:nvSpPr>
        <p:spPr>
          <a:xfrm>
            <a:off x="479425" y="6100618"/>
            <a:ext cx="11233150" cy="379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sz="1600" b="1" dirty="0">
                <a:solidFill>
                  <a:srgbClr val="000000"/>
                </a:solidFill>
                <a:latin typeface="Arial" panose="020B0604020202020204" pitchFamily="34" charset="0"/>
              </a:rPr>
              <a:t>Použití stejného otvoru znovu </a:t>
            </a:r>
            <a:r>
              <a:rPr lang="cs-CZ" sz="1600" dirty="0">
                <a:solidFill>
                  <a:srgbClr val="000000"/>
                </a:solidFill>
                <a:latin typeface="Arial" panose="020B0604020202020204" pitchFamily="34" charset="0"/>
              </a:rPr>
              <a:t>– doplnění kapsle</a:t>
            </a:r>
            <a:endParaRPr lang="en-GB" sz="16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F47E9472-BB78-4E4A-8D8C-D6F2E6FAF6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9477" y="1379737"/>
            <a:ext cx="9497773" cy="4793013"/>
          </a:xfrm>
          <a:prstGeom prst="rect">
            <a:avLst/>
          </a:prstGeom>
        </p:spPr>
      </p:pic>
      <p:sp>
        <p:nvSpPr>
          <p:cNvPr id="8" name="TextBox 29">
            <a:extLst>
              <a:ext uri="{FF2B5EF4-FFF2-40B4-BE49-F238E27FC236}">
                <a16:creationId xmlns:a16="http://schemas.microsoft.com/office/drawing/2014/main" id="{62754072-7954-4374-90A3-1B059107E4E1}"/>
              </a:ext>
            </a:extLst>
          </p:cNvPr>
          <p:cNvSpPr txBox="1"/>
          <p:nvPr/>
        </p:nvSpPr>
        <p:spPr>
          <a:xfrm>
            <a:off x="731933" y="162030"/>
            <a:ext cx="11194343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cs-CZ" sz="2800" cap="all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Oblasti použití</a:t>
            </a:r>
            <a:endParaRPr lang="en-US" sz="2800" cap="all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Oval 234">
            <a:extLst>
              <a:ext uri="{FF2B5EF4-FFF2-40B4-BE49-F238E27FC236}">
                <a16:creationId xmlns:a16="http://schemas.microsoft.com/office/drawing/2014/main" id="{3AE458E4-10B7-4274-B3EF-695075319616}"/>
              </a:ext>
            </a:extLst>
          </p:cNvPr>
          <p:cNvSpPr/>
          <p:nvPr/>
        </p:nvSpPr>
        <p:spPr bwMode="gray">
          <a:xfrm>
            <a:off x="151176" y="141570"/>
            <a:ext cx="580757" cy="564140"/>
          </a:xfrm>
          <a:prstGeom prst="ellipse">
            <a:avLst/>
          </a:prstGeom>
          <a:solidFill>
            <a:schemeClr val="accent1"/>
          </a:solidFill>
          <a:ln w="22225" algn="ctr">
            <a:noFill/>
            <a:round/>
            <a:headEnd/>
            <a:tailEnd/>
          </a:ln>
        </p:spPr>
        <p:txBody>
          <a:bodyPr rot="0" spcFirstLastPara="0" vertOverflow="overflow" horzOverflow="overflow" vert="horz" wrap="none" lIns="104270" tIns="52136" rIns="104270" bIns="52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42779"/>
            <a:r>
              <a:rPr lang="cs-CZ" sz="2800" b="1" dirty="0">
                <a:solidFill>
                  <a:schemeClr val="bg1"/>
                </a:solidFill>
              </a:rPr>
              <a:t>2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21DEB440-5E82-4069-B37A-1EBBD94B89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11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9074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9D6FD3-EF4C-46B3-908B-BA7566CFAB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9D6FD3-EF4C-46B3-908B-BA7566CFA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70CC04D-D1DE-4543-8BA4-1A08827FF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sz="2400" u="sng" dirty="0">
                <a:solidFill>
                  <a:schemeClr val="tx1"/>
                </a:solidFill>
              </a:rPr>
              <a:t>Demontáž kotvy a možnost opětovné instalace kotvy do stejného otvoru:</a:t>
            </a:r>
            <a:endParaRPr lang="en-US" sz="2400" u="sng" dirty="0">
              <a:solidFill>
                <a:schemeClr val="tx1"/>
              </a:solidFill>
            </a:endParaRPr>
          </a:p>
        </p:txBody>
      </p:sp>
      <p:pic>
        <p:nvPicPr>
          <p:cNvPr id="9" name="Picture 22">
            <a:extLst>
              <a:ext uri="{FF2B5EF4-FFF2-40B4-BE49-F238E27FC236}">
                <a16:creationId xmlns:a16="http://schemas.microsoft.com/office/drawing/2014/main" id="{8D18C03F-EAEA-4D30-BA34-F4F37A50B2D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1808"/>
          <a:stretch/>
        </p:blipFill>
        <p:spPr>
          <a:xfrm>
            <a:off x="906114" y="1354507"/>
            <a:ext cx="11022534" cy="4841971"/>
          </a:xfrm>
          <a:prstGeom prst="rect">
            <a:avLst/>
          </a:prstGeom>
        </p:spPr>
      </p:pic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3B741AE6-1A6F-4D83-BD2D-90BBAAE913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12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41667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9D6FD3-EF4C-46B3-908B-BA7566CFAB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9D6FD3-EF4C-46B3-908B-BA7566CFA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70CC04D-D1DE-4543-8BA4-1A08827FF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sz="2400" u="sng" dirty="0">
                <a:solidFill>
                  <a:schemeClr val="tx1"/>
                </a:solidFill>
              </a:rPr>
              <a:t>Použití na mostních konstrukcích:</a:t>
            </a:r>
            <a:endParaRPr lang="en-US" sz="2400" u="sng" dirty="0">
              <a:solidFill>
                <a:schemeClr val="tx1"/>
              </a:solidFill>
            </a:endParaRP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256DFB17-DC36-4C89-B095-8D22D578B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13</a:t>
            </a:fld>
            <a:endParaRPr lang="en-US" noProof="0"/>
          </a:p>
        </p:txBody>
      </p:sp>
      <p:sp>
        <p:nvSpPr>
          <p:cNvPr id="6" name="Rectangle 13">
            <a:extLst>
              <a:ext uri="{FF2B5EF4-FFF2-40B4-BE49-F238E27FC236}">
                <a16:creationId xmlns:a16="http://schemas.microsoft.com/office/drawing/2014/main" id="{356F63D2-13E5-4C64-8AFA-718DA11E8A78}"/>
              </a:ext>
            </a:extLst>
          </p:cNvPr>
          <p:cNvSpPr/>
          <p:nvPr/>
        </p:nvSpPr>
        <p:spPr>
          <a:xfrm>
            <a:off x="479425" y="875985"/>
            <a:ext cx="4130906" cy="43542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cs-CZ" sz="1400" b="1" dirty="0">
                <a:solidFill>
                  <a:srgbClr val="000000"/>
                </a:solidFill>
                <a:latin typeface="Arial" panose="020B0604020202020204" pitchFamily="34" charset="0"/>
              </a:rPr>
              <a:t>Kotvení dočasných konstrukcí</a:t>
            </a:r>
            <a:endParaRPr lang="en-US" sz="14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8D2DAB38-4C90-4DE4-974C-4BA17406E14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65" t="13622" r="22564" b="9070"/>
          <a:stretch/>
        </p:blipFill>
        <p:spPr>
          <a:xfrm>
            <a:off x="645164" y="1374228"/>
            <a:ext cx="3799424" cy="2676464"/>
          </a:xfrm>
          <a:prstGeom prst="rect">
            <a:avLst/>
          </a:prstGeom>
        </p:spPr>
      </p:pic>
      <p:pic>
        <p:nvPicPr>
          <p:cNvPr id="1028" name="Picture 4" descr="VARIOKIT Římsová konzola VGK">
            <a:extLst>
              <a:ext uri="{FF2B5EF4-FFF2-40B4-BE49-F238E27FC236}">
                <a16:creationId xmlns:a16="http://schemas.microsoft.com/office/drawing/2014/main" id="{E83C86FE-966E-44E1-AE79-2BBEB9ABCF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80" r="2122"/>
          <a:stretch/>
        </p:blipFill>
        <p:spPr bwMode="auto">
          <a:xfrm>
            <a:off x="479423" y="4121011"/>
            <a:ext cx="4130907" cy="2198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3">
            <a:extLst>
              <a:ext uri="{FF2B5EF4-FFF2-40B4-BE49-F238E27FC236}">
                <a16:creationId xmlns:a16="http://schemas.microsoft.com/office/drawing/2014/main" id="{3252D765-182A-484C-ADE1-FD576A54305C}"/>
              </a:ext>
            </a:extLst>
          </p:cNvPr>
          <p:cNvSpPr/>
          <p:nvPr/>
        </p:nvSpPr>
        <p:spPr>
          <a:xfrm>
            <a:off x="5516217" y="875984"/>
            <a:ext cx="6319113" cy="43542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cs-CZ" sz="1400" b="1" dirty="0">
                <a:solidFill>
                  <a:srgbClr val="000000"/>
                </a:solidFill>
                <a:latin typeface="Arial" panose="020B0604020202020204" pitchFamily="34" charset="0"/>
              </a:rPr>
              <a:t>Kotvení konstrukcí vybavení s nižší životností</a:t>
            </a:r>
            <a:endParaRPr lang="en-US" sz="14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96D6B855-224E-4E70-A5C6-A8C7C9BDAF07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68" t="28108" r="24564" b="28032"/>
          <a:stretch/>
        </p:blipFill>
        <p:spPr>
          <a:xfrm>
            <a:off x="5380845" y="4649351"/>
            <a:ext cx="4193778" cy="1786915"/>
          </a:xfrm>
          <a:prstGeom prst="rect">
            <a:avLst/>
          </a:prstGeom>
        </p:spPr>
      </p:pic>
      <p:sp>
        <p:nvSpPr>
          <p:cNvPr id="16" name="TextBox 29">
            <a:extLst>
              <a:ext uri="{FF2B5EF4-FFF2-40B4-BE49-F238E27FC236}">
                <a16:creationId xmlns:a16="http://schemas.microsoft.com/office/drawing/2014/main" id="{9D5B69B6-65F9-4E5B-87EE-FC6E8AF0FFA2}"/>
              </a:ext>
            </a:extLst>
          </p:cNvPr>
          <p:cNvSpPr txBox="1"/>
          <p:nvPr/>
        </p:nvSpPr>
        <p:spPr>
          <a:xfrm>
            <a:off x="9464386" y="5388919"/>
            <a:ext cx="2633781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cs-CZ" sz="1400" dirty="0">
                <a:cs typeface="Poppins" pitchFamily="2" charset="77"/>
              </a:rPr>
              <a:t>Kotvení elastomerových pásů</a:t>
            </a:r>
            <a:endParaRPr lang="en-US" sz="1400" dirty="0">
              <a:cs typeface="Poppins" pitchFamily="2" charset="77"/>
            </a:endParaRPr>
          </a:p>
        </p:txBody>
      </p:sp>
      <p:pic>
        <p:nvPicPr>
          <p:cNvPr id="15" name="Obrázek 14">
            <a:extLst>
              <a:ext uri="{FF2B5EF4-FFF2-40B4-BE49-F238E27FC236}">
                <a16:creationId xmlns:a16="http://schemas.microsoft.com/office/drawing/2014/main" id="{321DFAC2-92A7-4191-AF70-7CA49ED3596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74" t="23589" r="12774" b="12773"/>
          <a:stretch/>
        </p:blipFill>
        <p:spPr>
          <a:xfrm>
            <a:off x="5516217" y="1399217"/>
            <a:ext cx="2510182" cy="2721794"/>
          </a:xfrm>
          <a:prstGeom prst="rect">
            <a:avLst/>
          </a:prstGeom>
        </p:spPr>
      </p:pic>
      <p:pic>
        <p:nvPicPr>
          <p:cNvPr id="21" name="Obrázok 4">
            <a:extLst>
              <a:ext uri="{FF2B5EF4-FFF2-40B4-BE49-F238E27FC236}">
                <a16:creationId xmlns:a16="http://schemas.microsoft.com/office/drawing/2014/main" id="{B5802044-8303-4DA8-9C0D-5C4842FC931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6271" y="1399217"/>
            <a:ext cx="3629059" cy="2721794"/>
          </a:xfrm>
          <a:prstGeom prst="rect">
            <a:avLst/>
          </a:prstGeom>
        </p:spPr>
      </p:pic>
      <p:sp>
        <p:nvSpPr>
          <p:cNvPr id="22" name="TextBox 29">
            <a:extLst>
              <a:ext uri="{FF2B5EF4-FFF2-40B4-BE49-F238E27FC236}">
                <a16:creationId xmlns:a16="http://schemas.microsoft.com/office/drawing/2014/main" id="{4E71481D-74D1-4FB5-BC74-0CB8952A4F9A}"/>
              </a:ext>
            </a:extLst>
          </p:cNvPr>
          <p:cNvSpPr txBox="1"/>
          <p:nvPr/>
        </p:nvSpPr>
        <p:spPr>
          <a:xfrm>
            <a:off x="5992955" y="4169249"/>
            <a:ext cx="1556706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cs-CZ" sz="1400" dirty="0">
                <a:cs typeface="Poppins" pitchFamily="2" charset="77"/>
              </a:rPr>
              <a:t>Kotvení zábradlí</a:t>
            </a:r>
            <a:endParaRPr lang="en-US" sz="1400" dirty="0">
              <a:cs typeface="Poppins" pitchFamily="2" charset="77"/>
            </a:endParaRPr>
          </a:p>
        </p:txBody>
      </p:sp>
      <p:sp>
        <p:nvSpPr>
          <p:cNvPr id="23" name="TextBox 29">
            <a:extLst>
              <a:ext uri="{FF2B5EF4-FFF2-40B4-BE49-F238E27FC236}">
                <a16:creationId xmlns:a16="http://schemas.microsoft.com/office/drawing/2014/main" id="{D0CF16DF-82CB-4E63-A3FF-3CBF08A72050}"/>
              </a:ext>
            </a:extLst>
          </p:cNvPr>
          <p:cNvSpPr txBox="1"/>
          <p:nvPr/>
        </p:nvSpPr>
        <p:spPr>
          <a:xfrm>
            <a:off x="8061093" y="4169248"/>
            <a:ext cx="4130907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cs-CZ" sz="1400" dirty="0">
                <a:cs typeface="Poppins" pitchFamily="2" charset="77"/>
              </a:rPr>
              <a:t>Kotvení konstrukcí pro převod inženýrských sítí</a:t>
            </a:r>
            <a:endParaRPr lang="en-US" sz="1400" dirty="0"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773232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8870E89-DE0D-4E7F-B937-AFF9A1D6E20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43804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8870E89-DE0D-4E7F-B937-AFF9A1D6E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 bwMode="gray">
          <a:xfrm>
            <a:off x="11424592" y="6470315"/>
            <a:ext cx="504056" cy="186884"/>
          </a:xfrm>
        </p:spPr>
        <p:txBody>
          <a:bodyPr/>
          <a:lstStyle/>
          <a:p>
            <a:fld id="{2B4178FD-43BF-4968-A299-3450DC0CDF97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9B7987D2-9FB5-4578-AF0C-55054CBC194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8" r="37868" b="15890"/>
          <a:stretch/>
        </p:blipFill>
        <p:spPr>
          <a:xfrm rot="5400000">
            <a:off x="5520270" y="473376"/>
            <a:ext cx="2919541" cy="2316665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8FBDAB54-CE94-4F1B-A3A4-A107C6BA171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36" t="4261" r="15289" b="13402"/>
          <a:stretch/>
        </p:blipFill>
        <p:spPr>
          <a:xfrm>
            <a:off x="8333295" y="200801"/>
            <a:ext cx="3343325" cy="2890678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97F2D68E-9C36-44F7-AA95-B0A9A2D3EE6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14" b="15463"/>
          <a:stretch/>
        </p:blipFill>
        <p:spPr>
          <a:xfrm>
            <a:off x="5821708" y="3248092"/>
            <a:ext cx="5854912" cy="3149482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6A1482CC-25F6-4003-96E6-B2D40AA0BA6E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3" t="2166" r="5802" b="26185"/>
          <a:stretch/>
        </p:blipFill>
        <p:spPr>
          <a:xfrm>
            <a:off x="405354" y="320510"/>
            <a:ext cx="5380703" cy="592946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13360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B4DF998-173F-4381-979B-7D5184B108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5329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7" imgW="338" imgH="337" progId="TCLayout.ActiveDocument.1">
                  <p:embed/>
                </p:oleObj>
              </mc:Choice>
              <mc:Fallback>
                <p:oleObj name="think-cell Slide" r:id="rId7" imgW="338" imgH="337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B4DF998-173F-4381-979B-7D5184B108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bdélník 5" hidden="1">
            <a:extLst>
              <a:ext uri="{FF2B5EF4-FFF2-40B4-BE49-F238E27FC236}">
                <a16:creationId xmlns:a16="http://schemas.microsoft.com/office/drawing/2014/main" id="{2C87518D-CD0F-4891-A965-C93EFBB79E3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cs-CZ" sz="4000" u="none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B4178FD-43BF-4968-A299-3450DC0CDF97}" type="slidenum">
              <a:rPr lang="de-DE" dirty="0" smtClean="0"/>
              <a:pPr/>
              <a:t>15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cs-CZ" noProof="0" dirty="0" err="1"/>
              <a:t>DěkujI</a:t>
            </a:r>
            <a:r>
              <a:rPr lang="cs-CZ" noProof="0" dirty="0"/>
              <a:t> za pozornost</a:t>
            </a:r>
            <a:endParaRPr lang="en-US" noProof="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67509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8125D0-E29B-4321-94C7-4D6F402899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8125D0-E29B-4321-94C7-4D6F40289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96E080C-54C2-422A-8360-AC21AB48069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cs-CZ" sz="2800" u="none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F8CFA4-D18F-4493-B880-1877901A7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3" y="377741"/>
            <a:ext cx="11250485" cy="481952"/>
          </a:xfrm>
        </p:spPr>
        <p:txBody>
          <a:bodyPr vert="horz"/>
          <a:lstStyle/>
          <a:p>
            <a:r>
              <a:rPr lang="cs-CZ" sz="2800" dirty="0"/>
              <a:t>OBSAH PREZENTACE:</a:t>
            </a:r>
            <a:endParaRPr lang="en-GB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A10B09-20D1-4CA2-A73C-0F83F4B220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7" name="TextBox 29">
            <a:extLst>
              <a:ext uri="{FF2B5EF4-FFF2-40B4-BE49-F238E27FC236}">
                <a16:creationId xmlns:a16="http://schemas.microsoft.com/office/drawing/2014/main" id="{852E6D6F-362A-44EA-A4CF-E9DA52A2FF1C}"/>
              </a:ext>
            </a:extLst>
          </p:cNvPr>
          <p:cNvSpPr txBox="1"/>
          <p:nvPr/>
        </p:nvSpPr>
        <p:spPr>
          <a:xfrm>
            <a:off x="1060180" y="1147388"/>
            <a:ext cx="8693419" cy="4001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cs-CZ" sz="2000" dirty="0">
                <a:cs typeface="Poppins" pitchFamily="2" charset="77"/>
              </a:rPr>
              <a:t>TECHNOLOGIE KOMBINACE MECHANICKÉ A CHEMICKÉ KOTVY</a:t>
            </a:r>
            <a:endParaRPr lang="en-US" sz="2000" dirty="0">
              <a:cs typeface="Poppins" pitchFamily="2" charset="77"/>
            </a:endParaRPr>
          </a:p>
        </p:txBody>
      </p:sp>
      <p:sp>
        <p:nvSpPr>
          <p:cNvPr id="8" name="Oval 234">
            <a:extLst>
              <a:ext uri="{FF2B5EF4-FFF2-40B4-BE49-F238E27FC236}">
                <a16:creationId xmlns:a16="http://schemas.microsoft.com/office/drawing/2014/main" id="{AD3B024B-6035-41AA-B4AE-B47777A77378}"/>
              </a:ext>
            </a:extLst>
          </p:cNvPr>
          <p:cNvSpPr/>
          <p:nvPr/>
        </p:nvSpPr>
        <p:spPr bwMode="gray">
          <a:xfrm>
            <a:off x="479423" y="1106467"/>
            <a:ext cx="474054" cy="481951"/>
          </a:xfrm>
          <a:prstGeom prst="ellipse">
            <a:avLst/>
          </a:prstGeom>
          <a:solidFill>
            <a:schemeClr val="accent1"/>
          </a:solidFill>
          <a:ln w="22225" algn="ctr">
            <a:noFill/>
            <a:round/>
            <a:headEnd/>
            <a:tailEnd/>
          </a:ln>
        </p:spPr>
        <p:txBody>
          <a:bodyPr rot="0" spcFirstLastPara="0" vertOverflow="overflow" horzOverflow="overflow" vert="horz" wrap="none" lIns="104270" tIns="52136" rIns="104270" bIns="52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42779"/>
            <a:r>
              <a:rPr lang="en-US" sz="2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" name="TextBox 29">
            <a:extLst>
              <a:ext uri="{FF2B5EF4-FFF2-40B4-BE49-F238E27FC236}">
                <a16:creationId xmlns:a16="http://schemas.microsoft.com/office/drawing/2014/main" id="{24F93066-7267-4E0E-B1AE-BF7C2A3124B6}"/>
              </a:ext>
            </a:extLst>
          </p:cNvPr>
          <p:cNvSpPr txBox="1"/>
          <p:nvPr/>
        </p:nvSpPr>
        <p:spPr>
          <a:xfrm>
            <a:off x="1060181" y="1516721"/>
            <a:ext cx="7185050" cy="33855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600" dirty="0">
                <a:cs typeface="Poppins" pitchFamily="2" charset="77"/>
              </a:rPr>
              <a:t>Technologický princip</a:t>
            </a:r>
            <a:endParaRPr lang="en-US" sz="1600" dirty="0">
              <a:cs typeface="Poppins" pitchFamily="2" charset="77"/>
            </a:endParaRPr>
          </a:p>
        </p:txBody>
      </p:sp>
      <p:sp>
        <p:nvSpPr>
          <p:cNvPr id="12" name="TextBox 29">
            <a:extLst>
              <a:ext uri="{FF2B5EF4-FFF2-40B4-BE49-F238E27FC236}">
                <a16:creationId xmlns:a16="http://schemas.microsoft.com/office/drawing/2014/main" id="{735A174F-2CF3-4A4A-B22D-4E1A47377DDA}"/>
              </a:ext>
            </a:extLst>
          </p:cNvPr>
          <p:cNvSpPr txBox="1"/>
          <p:nvPr/>
        </p:nvSpPr>
        <p:spPr>
          <a:xfrm>
            <a:off x="1060180" y="1835193"/>
            <a:ext cx="7185050" cy="33855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600" dirty="0">
                <a:cs typeface="Poppins" pitchFamily="2" charset="77"/>
              </a:rPr>
              <a:t>Výhody / nevýhody</a:t>
            </a:r>
            <a:endParaRPr lang="en-US" sz="1600" dirty="0">
              <a:cs typeface="Poppins" pitchFamily="2" charset="77"/>
            </a:endParaRPr>
          </a:p>
        </p:txBody>
      </p:sp>
      <p:sp>
        <p:nvSpPr>
          <p:cNvPr id="13" name="TextBox 29">
            <a:extLst>
              <a:ext uri="{FF2B5EF4-FFF2-40B4-BE49-F238E27FC236}">
                <a16:creationId xmlns:a16="http://schemas.microsoft.com/office/drawing/2014/main" id="{2FAA4DD1-DB02-4806-9744-87A271F6ED1A}"/>
              </a:ext>
            </a:extLst>
          </p:cNvPr>
          <p:cNvSpPr txBox="1"/>
          <p:nvPr/>
        </p:nvSpPr>
        <p:spPr>
          <a:xfrm>
            <a:off x="1060180" y="2173747"/>
            <a:ext cx="7185050" cy="33855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600" dirty="0">
                <a:cs typeface="Poppins" pitchFamily="2" charset="77"/>
              </a:rPr>
              <a:t>Porovnání únosností</a:t>
            </a:r>
            <a:endParaRPr lang="en-US" sz="1600" dirty="0">
              <a:cs typeface="Poppins" pitchFamily="2" charset="77"/>
            </a:endParaRPr>
          </a:p>
        </p:txBody>
      </p:sp>
      <p:sp>
        <p:nvSpPr>
          <p:cNvPr id="14" name="TextBox 29">
            <a:extLst>
              <a:ext uri="{FF2B5EF4-FFF2-40B4-BE49-F238E27FC236}">
                <a16:creationId xmlns:a16="http://schemas.microsoft.com/office/drawing/2014/main" id="{CE9DB7A2-0D7A-4C20-AFEF-1A886230881C}"/>
              </a:ext>
            </a:extLst>
          </p:cNvPr>
          <p:cNvSpPr txBox="1"/>
          <p:nvPr/>
        </p:nvSpPr>
        <p:spPr>
          <a:xfrm>
            <a:off x="1060180" y="2850855"/>
            <a:ext cx="8693419" cy="4001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cs-CZ" sz="2000" dirty="0">
                <a:cs typeface="Poppins" pitchFamily="2" charset="77"/>
              </a:rPr>
              <a:t>OBLASTI POUŽITÍ</a:t>
            </a:r>
            <a:endParaRPr lang="en-US" sz="2000" dirty="0">
              <a:cs typeface="Poppins" pitchFamily="2" charset="77"/>
            </a:endParaRPr>
          </a:p>
        </p:txBody>
      </p:sp>
      <p:sp>
        <p:nvSpPr>
          <p:cNvPr id="15" name="Oval 234">
            <a:extLst>
              <a:ext uri="{FF2B5EF4-FFF2-40B4-BE49-F238E27FC236}">
                <a16:creationId xmlns:a16="http://schemas.microsoft.com/office/drawing/2014/main" id="{04FC2E26-34F8-4B81-B58D-1074AB36DBC6}"/>
              </a:ext>
            </a:extLst>
          </p:cNvPr>
          <p:cNvSpPr/>
          <p:nvPr/>
        </p:nvSpPr>
        <p:spPr bwMode="gray">
          <a:xfrm>
            <a:off x="479423" y="2809934"/>
            <a:ext cx="474054" cy="481951"/>
          </a:xfrm>
          <a:prstGeom prst="ellipse">
            <a:avLst/>
          </a:prstGeom>
          <a:solidFill>
            <a:schemeClr val="accent1"/>
          </a:solidFill>
          <a:ln w="22225" algn="ctr">
            <a:noFill/>
            <a:round/>
            <a:headEnd/>
            <a:tailEnd/>
          </a:ln>
        </p:spPr>
        <p:txBody>
          <a:bodyPr rot="0" spcFirstLastPara="0" vertOverflow="overflow" horzOverflow="overflow" vert="horz" wrap="none" lIns="104270" tIns="52136" rIns="104270" bIns="52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42779"/>
            <a:r>
              <a:rPr lang="cs-CZ" sz="2000" b="1" dirty="0">
                <a:solidFill>
                  <a:schemeClr val="bg1"/>
                </a:solidFill>
              </a:rPr>
              <a:t>2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6" name="TextBox 29">
            <a:extLst>
              <a:ext uri="{FF2B5EF4-FFF2-40B4-BE49-F238E27FC236}">
                <a16:creationId xmlns:a16="http://schemas.microsoft.com/office/drawing/2014/main" id="{DBA62C1D-B306-4EFB-B2EA-50A9EB320DB8}"/>
              </a:ext>
            </a:extLst>
          </p:cNvPr>
          <p:cNvSpPr txBox="1"/>
          <p:nvPr/>
        </p:nvSpPr>
        <p:spPr>
          <a:xfrm>
            <a:off x="1060181" y="3220188"/>
            <a:ext cx="7185050" cy="33855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600" dirty="0">
                <a:cs typeface="Poppins" pitchFamily="2" charset="77"/>
              </a:rPr>
              <a:t>Nové možnosti aplikace kotvy do stávajícího otvoru</a:t>
            </a:r>
            <a:endParaRPr lang="en-US" sz="1600" dirty="0">
              <a:cs typeface="Poppins" pitchFamily="2" charset="77"/>
            </a:endParaRPr>
          </a:p>
        </p:txBody>
      </p:sp>
      <p:sp>
        <p:nvSpPr>
          <p:cNvPr id="17" name="TextBox 29">
            <a:extLst>
              <a:ext uri="{FF2B5EF4-FFF2-40B4-BE49-F238E27FC236}">
                <a16:creationId xmlns:a16="http://schemas.microsoft.com/office/drawing/2014/main" id="{F3B54EFE-7017-43BC-A4A2-4993365882FF}"/>
              </a:ext>
            </a:extLst>
          </p:cNvPr>
          <p:cNvSpPr txBox="1"/>
          <p:nvPr/>
        </p:nvSpPr>
        <p:spPr>
          <a:xfrm>
            <a:off x="1060180" y="3538660"/>
            <a:ext cx="7185050" cy="33855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600" dirty="0">
                <a:cs typeface="Poppins" pitchFamily="2" charset="77"/>
              </a:rPr>
              <a:t>Použití na mostních konstrukcích</a:t>
            </a:r>
            <a:endParaRPr lang="en-US" sz="1600" dirty="0"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472625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8125D0-E29B-4321-94C7-4D6F402899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8606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8125D0-E29B-4321-94C7-4D6F40289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96E080C-54C2-422A-8360-AC21AB48069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cs-CZ" sz="2800" u="none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F8CFA4-D18F-4493-B880-1877901A7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135" y="1313654"/>
            <a:ext cx="11250485" cy="999031"/>
          </a:xfrm>
        </p:spPr>
        <p:txBody>
          <a:bodyPr vert="horz"/>
          <a:lstStyle/>
          <a:p>
            <a:r>
              <a:rPr lang="cs-CZ" sz="2400" u="sng" dirty="0">
                <a:solidFill>
                  <a:schemeClr val="tx1"/>
                </a:solidFill>
              </a:rPr>
              <a:t>Principy fungování chemických kotev:</a:t>
            </a:r>
            <a:endParaRPr lang="en-GB" sz="2400" u="sng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A10B09-20D1-4CA2-A73C-0F83F4B220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7" name="TextBox 29">
            <a:extLst>
              <a:ext uri="{FF2B5EF4-FFF2-40B4-BE49-F238E27FC236}">
                <a16:creationId xmlns:a16="http://schemas.microsoft.com/office/drawing/2014/main" id="{88341E6F-F97D-4452-A7C3-E118D2EDAB98}"/>
              </a:ext>
            </a:extLst>
          </p:cNvPr>
          <p:cNvSpPr txBox="1"/>
          <p:nvPr/>
        </p:nvSpPr>
        <p:spPr>
          <a:xfrm>
            <a:off x="903871" y="250005"/>
            <a:ext cx="11194343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cs-CZ" sz="2800" cap="all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ECHNOLOGIE</a:t>
            </a:r>
            <a:r>
              <a:rPr lang="cs-CZ" sz="2800" dirty="0">
                <a:solidFill>
                  <a:srgbClr val="FF0000"/>
                </a:solidFill>
                <a:cs typeface="Poppins" pitchFamily="2" charset="77"/>
              </a:rPr>
              <a:t> </a:t>
            </a:r>
            <a:r>
              <a:rPr lang="cs-CZ" sz="2800" cap="all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KOMBINACE MECHANICKÉ A CHEMICKÉ KOTVY</a:t>
            </a:r>
            <a:endParaRPr lang="en-US" sz="2800" cap="all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Oval 234">
            <a:extLst>
              <a:ext uri="{FF2B5EF4-FFF2-40B4-BE49-F238E27FC236}">
                <a16:creationId xmlns:a16="http://schemas.microsoft.com/office/drawing/2014/main" id="{AA7486FE-573B-47BB-9BF6-7C261380A7DA}"/>
              </a:ext>
            </a:extLst>
          </p:cNvPr>
          <p:cNvSpPr/>
          <p:nvPr/>
        </p:nvSpPr>
        <p:spPr bwMode="gray">
          <a:xfrm>
            <a:off x="323114" y="229545"/>
            <a:ext cx="580757" cy="564140"/>
          </a:xfrm>
          <a:prstGeom prst="ellipse">
            <a:avLst/>
          </a:prstGeom>
          <a:solidFill>
            <a:schemeClr val="accent1"/>
          </a:solidFill>
          <a:ln w="22225" algn="ctr">
            <a:noFill/>
            <a:round/>
            <a:headEnd/>
            <a:tailEnd/>
          </a:ln>
        </p:spPr>
        <p:txBody>
          <a:bodyPr rot="0" spcFirstLastPara="0" vertOverflow="overflow" horzOverflow="overflow" vert="horz" wrap="none" lIns="104270" tIns="52136" rIns="104270" bIns="52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42779"/>
            <a:r>
              <a:rPr lang="en-US" sz="2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2" name="Rechteck 22">
            <a:extLst>
              <a:ext uri="{FF2B5EF4-FFF2-40B4-BE49-F238E27FC236}">
                <a16:creationId xmlns:a16="http://schemas.microsoft.com/office/drawing/2014/main" id="{6546F2BB-C53F-43E0-8C93-DF568B91FBBD}"/>
              </a:ext>
            </a:extLst>
          </p:cNvPr>
          <p:cNvSpPr/>
          <p:nvPr/>
        </p:nvSpPr>
        <p:spPr bwMode="gray">
          <a:xfrm>
            <a:off x="8013599" y="3277907"/>
            <a:ext cx="2682287" cy="207360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t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varový zámek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hteck 22">
            <a:extLst>
              <a:ext uri="{FF2B5EF4-FFF2-40B4-BE49-F238E27FC236}">
                <a16:creationId xmlns:a16="http://schemas.microsoft.com/office/drawing/2014/main" id="{65205BA2-4E75-4642-A89C-5E093B3AAAD5}"/>
              </a:ext>
            </a:extLst>
          </p:cNvPr>
          <p:cNvSpPr/>
          <p:nvPr/>
        </p:nvSpPr>
        <p:spPr bwMode="gray">
          <a:xfrm>
            <a:off x="4517309" y="3277922"/>
            <a:ext cx="3138004" cy="207360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t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zpěrná kotva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hteck 22">
            <a:extLst>
              <a:ext uri="{FF2B5EF4-FFF2-40B4-BE49-F238E27FC236}">
                <a16:creationId xmlns:a16="http://schemas.microsoft.com/office/drawing/2014/main" id="{0696448A-7E5B-44DF-AFEB-E006AD4F1E39}"/>
              </a:ext>
            </a:extLst>
          </p:cNvPr>
          <p:cNvSpPr/>
          <p:nvPr/>
        </p:nvSpPr>
        <p:spPr bwMode="gray">
          <a:xfrm>
            <a:off x="1489205" y="3277922"/>
            <a:ext cx="2682287" cy="207360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t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držnost lepidla a tření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hteck 50">
            <a:extLst>
              <a:ext uri="{FF2B5EF4-FFF2-40B4-BE49-F238E27FC236}">
                <a16:creationId xmlns:a16="http://schemas.microsoft.com/office/drawing/2014/main" id="{7B27136D-8739-4CE4-89AC-53776FBDB1CA}"/>
              </a:ext>
            </a:extLst>
          </p:cNvPr>
          <p:cNvSpPr/>
          <p:nvPr/>
        </p:nvSpPr>
        <p:spPr bwMode="gray">
          <a:xfrm>
            <a:off x="2840907" y="3046685"/>
            <a:ext cx="6510185" cy="231222"/>
          </a:xfrm>
          <a:custGeom>
            <a:avLst/>
            <a:gdLst>
              <a:gd name="connsiteX0" fmla="*/ 0 w 5940660"/>
              <a:gd name="connsiteY0" fmla="*/ 0 h 108012"/>
              <a:gd name="connsiteX1" fmla="*/ 5940660 w 5940660"/>
              <a:gd name="connsiteY1" fmla="*/ 0 h 108012"/>
              <a:gd name="connsiteX2" fmla="*/ 5940660 w 5940660"/>
              <a:gd name="connsiteY2" fmla="*/ 108012 h 108012"/>
              <a:gd name="connsiteX3" fmla="*/ 0 w 5940660"/>
              <a:gd name="connsiteY3" fmla="*/ 108012 h 108012"/>
              <a:gd name="connsiteX4" fmla="*/ 0 w 5940660"/>
              <a:gd name="connsiteY4" fmla="*/ 0 h 108012"/>
              <a:gd name="connsiteX0" fmla="*/ 0 w 5940660"/>
              <a:gd name="connsiteY0" fmla="*/ 0 h 108012"/>
              <a:gd name="connsiteX1" fmla="*/ 5940660 w 5940660"/>
              <a:gd name="connsiteY1" fmla="*/ 0 h 108012"/>
              <a:gd name="connsiteX2" fmla="*/ 5940660 w 5940660"/>
              <a:gd name="connsiteY2" fmla="*/ 108012 h 108012"/>
              <a:gd name="connsiteX3" fmla="*/ 2981608 w 5940660"/>
              <a:gd name="connsiteY3" fmla="*/ 101184 h 108012"/>
              <a:gd name="connsiteX4" fmla="*/ 0 w 5940660"/>
              <a:gd name="connsiteY4" fmla="*/ 108012 h 108012"/>
              <a:gd name="connsiteX5" fmla="*/ 0 w 5940660"/>
              <a:gd name="connsiteY5" fmla="*/ 0 h 108012"/>
              <a:gd name="connsiteX0" fmla="*/ 2981608 w 5940660"/>
              <a:gd name="connsiteY0" fmla="*/ 101184 h 192624"/>
              <a:gd name="connsiteX1" fmla="*/ 0 w 5940660"/>
              <a:gd name="connsiteY1" fmla="*/ 108012 h 192624"/>
              <a:gd name="connsiteX2" fmla="*/ 0 w 5940660"/>
              <a:gd name="connsiteY2" fmla="*/ 0 h 192624"/>
              <a:gd name="connsiteX3" fmla="*/ 5940660 w 5940660"/>
              <a:gd name="connsiteY3" fmla="*/ 0 h 192624"/>
              <a:gd name="connsiteX4" fmla="*/ 5940660 w 5940660"/>
              <a:gd name="connsiteY4" fmla="*/ 108012 h 192624"/>
              <a:gd name="connsiteX5" fmla="*/ 3073048 w 5940660"/>
              <a:gd name="connsiteY5" fmla="*/ 192624 h 192624"/>
              <a:gd name="connsiteX0" fmla="*/ 2981608 w 5940660"/>
              <a:gd name="connsiteY0" fmla="*/ 101184 h 108012"/>
              <a:gd name="connsiteX1" fmla="*/ 0 w 5940660"/>
              <a:gd name="connsiteY1" fmla="*/ 108012 h 108012"/>
              <a:gd name="connsiteX2" fmla="*/ 0 w 5940660"/>
              <a:gd name="connsiteY2" fmla="*/ 0 h 108012"/>
              <a:gd name="connsiteX3" fmla="*/ 5940660 w 5940660"/>
              <a:gd name="connsiteY3" fmla="*/ 0 h 108012"/>
              <a:gd name="connsiteX4" fmla="*/ 5940660 w 5940660"/>
              <a:gd name="connsiteY4" fmla="*/ 108012 h 108012"/>
              <a:gd name="connsiteX0" fmla="*/ 0 w 5940660"/>
              <a:gd name="connsiteY0" fmla="*/ 108012 h 108012"/>
              <a:gd name="connsiteX1" fmla="*/ 0 w 5940660"/>
              <a:gd name="connsiteY1" fmla="*/ 0 h 108012"/>
              <a:gd name="connsiteX2" fmla="*/ 5940660 w 5940660"/>
              <a:gd name="connsiteY2" fmla="*/ 0 h 108012"/>
              <a:gd name="connsiteX3" fmla="*/ 5940660 w 5940660"/>
              <a:gd name="connsiteY3" fmla="*/ 108012 h 10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40660" h="108012">
                <a:moveTo>
                  <a:pt x="0" y="108012"/>
                </a:moveTo>
                <a:lnTo>
                  <a:pt x="0" y="0"/>
                </a:lnTo>
                <a:lnTo>
                  <a:pt x="5940660" y="0"/>
                </a:lnTo>
                <a:lnTo>
                  <a:pt x="5940660" y="108012"/>
                </a:lnTo>
              </a:path>
            </a:pathLst>
          </a:cu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hteck 44">
            <a:extLst>
              <a:ext uri="{FF2B5EF4-FFF2-40B4-BE49-F238E27FC236}">
                <a16:creationId xmlns:a16="http://schemas.microsoft.com/office/drawing/2014/main" id="{B930A7F7-552A-4ABB-8602-9977AEA2C71F}"/>
              </a:ext>
            </a:extLst>
          </p:cNvPr>
          <p:cNvSpPr/>
          <p:nvPr/>
        </p:nvSpPr>
        <p:spPr bwMode="gray">
          <a:xfrm>
            <a:off x="6246598" y="3371680"/>
            <a:ext cx="192021" cy="960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7" name="Gerade Verbindung 57">
            <a:extLst>
              <a:ext uri="{FF2B5EF4-FFF2-40B4-BE49-F238E27FC236}">
                <a16:creationId xmlns:a16="http://schemas.microsoft.com/office/drawing/2014/main" id="{7877EFFE-505D-4373-B28F-CBBF29FD684D}"/>
              </a:ext>
            </a:extLst>
          </p:cNvPr>
          <p:cNvCxnSpPr/>
          <p:nvPr/>
        </p:nvCxnSpPr>
        <p:spPr bwMode="gray">
          <a:xfrm>
            <a:off x="6079102" y="3046762"/>
            <a:ext cx="0" cy="239962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48">
            <a:extLst>
              <a:ext uri="{FF2B5EF4-FFF2-40B4-BE49-F238E27FC236}">
                <a16:creationId xmlns:a16="http://schemas.microsoft.com/office/drawing/2014/main" id="{729E1445-2443-4394-802B-7CF4EFF46BD5}"/>
              </a:ext>
            </a:extLst>
          </p:cNvPr>
          <p:cNvSpPr/>
          <p:nvPr/>
        </p:nvSpPr>
        <p:spPr bwMode="gray">
          <a:xfrm>
            <a:off x="4517308" y="2326725"/>
            <a:ext cx="3138004" cy="4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emické kotvy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" name="Gerade Verbindung 57">
            <a:extLst>
              <a:ext uri="{FF2B5EF4-FFF2-40B4-BE49-F238E27FC236}">
                <a16:creationId xmlns:a16="http://schemas.microsoft.com/office/drawing/2014/main" id="{71337789-71D5-4207-B935-C4B4B4CF184F}"/>
              </a:ext>
            </a:extLst>
          </p:cNvPr>
          <p:cNvCxnSpPr/>
          <p:nvPr/>
        </p:nvCxnSpPr>
        <p:spPr bwMode="gray">
          <a:xfrm>
            <a:off x="6079102" y="2806725"/>
            <a:ext cx="0" cy="239962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0195">
            <a:extLst>
              <a:ext uri="{FF2B5EF4-FFF2-40B4-BE49-F238E27FC236}">
                <a16:creationId xmlns:a16="http://schemas.microsoft.com/office/drawing/2014/main" id="{3D030832-81DB-4235-A081-FC05EB485FE7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4927" y="3697216"/>
            <a:ext cx="412344" cy="1440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33">
            <a:extLst>
              <a:ext uri="{FF2B5EF4-FFF2-40B4-BE49-F238E27FC236}">
                <a16:creationId xmlns:a16="http://schemas.microsoft.com/office/drawing/2014/main" id="{D03345C8-2AF5-40CF-9D99-9DE061C623BD}"/>
              </a:ext>
            </a:extLst>
          </p:cNvPr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418" b="-10116"/>
          <a:stretch/>
        </p:blipFill>
        <p:spPr bwMode="auto">
          <a:xfrm>
            <a:off x="2430028" y="3637938"/>
            <a:ext cx="1421022" cy="18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A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ext Box 38">
            <a:extLst>
              <a:ext uri="{FF2B5EF4-FFF2-40B4-BE49-F238E27FC236}">
                <a16:creationId xmlns:a16="http://schemas.microsoft.com/office/drawing/2014/main" id="{EB47134C-1103-4BBB-9E75-CA42867C29F4}"/>
              </a:ext>
            </a:extLst>
          </p:cNvPr>
          <p:cNvSpPr txBox="1"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1615331" y="3854701"/>
            <a:ext cx="908528" cy="289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A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72000" rIns="90000" bIns="46800">
            <a:spAutoFit/>
          </a:bodyPr>
          <a:lstStyle>
            <a:lvl1pPr marL="3175" indent="-31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175" marR="0" lvl="0" indent="-3175" algn="l" defTabSz="121917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 pitchFamily="2" charset="2"/>
              </a:rPr>
              <a:t>Soudržnos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  <a:sym typeface="Wingdings" pitchFamily="2" charset="2"/>
            </a:endParaRPr>
          </a:p>
        </p:txBody>
      </p:sp>
      <p:sp>
        <p:nvSpPr>
          <p:cNvPr id="23" name="Text Box 39">
            <a:extLst>
              <a:ext uri="{FF2B5EF4-FFF2-40B4-BE49-F238E27FC236}">
                <a16:creationId xmlns:a16="http://schemas.microsoft.com/office/drawing/2014/main" id="{C057451C-759C-4DE7-B09E-0D6BF54A8AD8}"/>
              </a:ext>
            </a:extLst>
          </p:cNvPr>
          <p:cNvSpPr txBox="1">
            <a:spLocks noChangeAspect="1" noChangeArrowheads="1"/>
          </p:cNvSpPr>
          <p:nvPr>
            <p:custDataLst>
              <p:tags r:id="rId7"/>
            </p:custDataLst>
          </p:nvPr>
        </p:nvSpPr>
        <p:spPr bwMode="auto">
          <a:xfrm>
            <a:off x="1761718" y="4678956"/>
            <a:ext cx="652588" cy="627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A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72000" rIns="90000" bIns="46800">
            <a:spAutoFit/>
          </a:bodyPr>
          <a:lstStyle>
            <a:lvl1pPr marL="3175" indent="-31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175" marR="0" lvl="0" indent="-3175" algn="l" defTabSz="121917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 pitchFamily="2" charset="2"/>
              </a:rPr>
              <a:t>Mikro tvarový zámek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  <a:sym typeface="Wingdings" pitchFamily="2" charset="2"/>
            </a:endParaRPr>
          </a:p>
        </p:txBody>
      </p:sp>
      <p:grpSp>
        <p:nvGrpSpPr>
          <p:cNvPr id="24" name="Group 61">
            <a:extLst>
              <a:ext uri="{FF2B5EF4-FFF2-40B4-BE49-F238E27FC236}">
                <a16:creationId xmlns:a16="http://schemas.microsoft.com/office/drawing/2014/main" id="{0CD95FD1-AC81-454C-ADF8-E1A346EE5C57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5340521" y="3986604"/>
            <a:ext cx="986927" cy="849605"/>
            <a:chOff x="1906" y="1861"/>
            <a:chExt cx="1355" cy="1232"/>
          </a:xfrm>
        </p:grpSpPr>
        <p:sp>
          <p:nvSpPr>
            <p:cNvPr id="25" name="Oval 35" descr="Rosa Seidenpapier">
              <a:extLst>
                <a:ext uri="{FF2B5EF4-FFF2-40B4-BE49-F238E27FC236}">
                  <a16:creationId xmlns:a16="http://schemas.microsoft.com/office/drawing/2014/main" id="{80682077-C09B-41BC-9D79-64AAC13C5E28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980" y="2058"/>
              <a:ext cx="961" cy="961"/>
            </a:xfrm>
            <a:prstGeom prst="ellipse">
              <a:avLst/>
            </a:prstGeom>
            <a:blipFill dpi="0" rotWithShape="0">
              <a:blip r:embed="rId14"/>
              <a:srcRect/>
              <a:tile tx="0" ty="0" sx="100000" sy="100000" flip="none" algn="tl"/>
            </a:blipFill>
            <a:ln w="5715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36" descr="Granit">
              <a:extLst>
                <a:ext uri="{FF2B5EF4-FFF2-40B4-BE49-F238E27FC236}">
                  <a16:creationId xmlns:a16="http://schemas.microsoft.com/office/drawing/2014/main" id="{CD58F939-375B-465D-9168-022F78AC87B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906" y="2092"/>
              <a:ext cx="365" cy="894"/>
            </a:xfrm>
            <a:custGeom>
              <a:avLst/>
              <a:gdLst>
                <a:gd name="T0" fmla="*/ 331 w 529"/>
                <a:gd name="T1" fmla="*/ 894 h 1296"/>
                <a:gd name="T2" fmla="*/ 232 w 529"/>
                <a:gd name="T3" fmla="*/ 861 h 1296"/>
                <a:gd name="T4" fmla="*/ 132 w 529"/>
                <a:gd name="T5" fmla="*/ 762 h 1296"/>
                <a:gd name="T6" fmla="*/ 66 w 529"/>
                <a:gd name="T7" fmla="*/ 695 h 1296"/>
                <a:gd name="T8" fmla="*/ 33 w 529"/>
                <a:gd name="T9" fmla="*/ 596 h 1296"/>
                <a:gd name="T10" fmla="*/ 0 w 529"/>
                <a:gd name="T11" fmla="*/ 497 h 1296"/>
                <a:gd name="T12" fmla="*/ 0 w 529"/>
                <a:gd name="T13" fmla="*/ 364 h 1296"/>
                <a:gd name="T14" fmla="*/ 66 w 529"/>
                <a:gd name="T15" fmla="*/ 199 h 1296"/>
                <a:gd name="T16" fmla="*/ 232 w 529"/>
                <a:gd name="T17" fmla="*/ 33 h 1296"/>
                <a:gd name="T18" fmla="*/ 331 w 529"/>
                <a:gd name="T19" fmla="*/ 0 h 1296"/>
                <a:gd name="T20" fmla="*/ 340 w 529"/>
                <a:gd name="T21" fmla="*/ 22 h 1296"/>
                <a:gd name="T22" fmla="*/ 327 w 529"/>
                <a:gd name="T23" fmla="*/ 37 h 1296"/>
                <a:gd name="T24" fmla="*/ 322 w 529"/>
                <a:gd name="T25" fmla="*/ 42 h 1296"/>
                <a:gd name="T26" fmla="*/ 316 w 529"/>
                <a:gd name="T27" fmla="*/ 44 h 1296"/>
                <a:gd name="T28" fmla="*/ 338 w 529"/>
                <a:gd name="T29" fmla="*/ 66 h 1296"/>
                <a:gd name="T30" fmla="*/ 324 w 529"/>
                <a:gd name="T31" fmla="*/ 86 h 1296"/>
                <a:gd name="T32" fmla="*/ 335 w 529"/>
                <a:gd name="T33" fmla="*/ 103 h 1296"/>
                <a:gd name="T34" fmla="*/ 322 w 529"/>
                <a:gd name="T35" fmla="*/ 123 h 1296"/>
                <a:gd name="T36" fmla="*/ 335 w 529"/>
                <a:gd name="T37" fmla="*/ 141 h 1296"/>
                <a:gd name="T38" fmla="*/ 324 w 529"/>
                <a:gd name="T39" fmla="*/ 175 h 1296"/>
                <a:gd name="T40" fmla="*/ 311 w 529"/>
                <a:gd name="T41" fmla="*/ 214 h 1296"/>
                <a:gd name="T42" fmla="*/ 309 w 529"/>
                <a:gd name="T43" fmla="*/ 221 h 1296"/>
                <a:gd name="T44" fmla="*/ 316 w 529"/>
                <a:gd name="T45" fmla="*/ 225 h 1296"/>
                <a:gd name="T46" fmla="*/ 327 w 529"/>
                <a:gd name="T47" fmla="*/ 243 h 1296"/>
                <a:gd name="T48" fmla="*/ 333 w 529"/>
                <a:gd name="T49" fmla="*/ 283 h 1296"/>
                <a:gd name="T50" fmla="*/ 309 w 529"/>
                <a:gd name="T51" fmla="*/ 298 h 1296"/>
                <a:gd name="T52" fmla="*/ 322 w 529"/>
                <a:gd name="T53" fmla="*/ 333 h 1296"/>
                <a:gd name="T54" fmla="*/ 311 w 529"/>
                <a:gd name="T55" fmla="*/ 353 h 1296"/>
                <a:gd name="T56" fmla="*/ 327 w 529"/>
                <a:gd name="T57" fmla="*/ 371 h 1296"/>
                <a:gd name="T58" fmla="*/ 318 w 529"/>
                <a:gd name="T59" fmla="*/ 397 h 1296"/>
                <a:gd name="T60" fmla="*/ 329 w 529"/>
                <a:gd name="T61" fmla="*/ 421 h 1296"/>
                <a:gd name="T62" fmla="*/ 309 w 529"/>
                <a:gd name="T63" fmla="*/ 439 h 1296"/>
                <a:gd name="T64" fmla="*/ 329 w 529"/>
                <a:gd name="T65" fmla="*/ 464 h 1296"/>
                <a:gd name="T66" fmla="*/ 316 w 529"/>
                <a:gd name="T67" fmla="*/ 490 h 1296"/>
                <a:gd name="T68" fmla="*/ 322 w 529"/>
                <a:gd name="T69" fmla="*/ 523 h 1296"/>
                <a:gd name="T70" fmla="*/ 318 w 529"/>
                <a:gd name="T71" fmla="*/ 550 h 1296"/>
                <a:gd name="T72" fmla="*/ 329 w 529"/>
                <a:gd name="T73" fmla="*/ 561 h 1296"/>
                <a:gd name="T74" fmla="*/ 340 w 529"/>
                <a:gd name="T75" fmla="*/ 576 h 1296"/>
                <a:gd name="T76" fmla="*/ 307 w 529"/>
                <a:gd name="T77" fmla="*/ 594 h 1296"/>
                <a:gd name="T78" fmla="*/ 322 w 529"/>
                <a:gd name="T79" fmla="*/ 625 h 1296"/>
                <a:gd name="T80" fmla="*/ 307 w 529"/>
                <a:gd name="T81" fmla="*/ 638 h 1296"/>
                <a:gd name="T82" fmla="*/ 324 w 529"/>
                <a:gd name="T83" fmla="*/ 675 h 1296"/>
                <a:gd name="T84" fmla="*/ 316 w 529"/>
                <a:gd name="T85" fmla="*/ 697 h 1296"/>
                <a:gd name="T86" fmla="*/ 349 w 529"/>
                <a:gd name="T87" fmla="*/ 717 h 1296"/>
                <a:gd name="T88" fmla="*/ 338 w 529"/>
                <a:gd name="T89" fmla="*/ 735 h 1296"/>
                <a:gd name="T90" fmla="*/ 285 w 529"/>
                <a:gd name="T91" fmla="*/ 739 h 1296"/>
                <a:gd name="T92" fmla="*/ 294 w 529"/>
                <a:gd name="T93" fmla="*/ 764 h 1296"/>
                <a:gd name="T94" fmla="*/ 311 w 529"/>
                <a:gd name="T95" fmla="*/ 777 h 1296"/>
                <a:gd name="T96" fmla="*/ 320 w 529"/>
                <a:gd name="T97" fmla="*/ 799 h 1296"/>
                <a:gd name="T98" fmla="*/ 309 w 529"/>
                <a:gd name="T99" fmla="*/ 817 h 1296"/>
                <a:gd name="T100" fmla="*/ 320 w 529"/>
                <a:gd name="T101" fmla="*/ 835 h 1296"/>
                <a:gd name="T102" fmla="*/ 331 w 529"/>
                <a:gd name="T103" fmla="*/ 863 h 1296"/>
                <a:gd name="T104" fmla="*/ 329 w 529"/>
                <a:gd name="T105" fmla="*/ 885 h 1296"/>
                <a:gd name="T106" fmla="*/ 331 w 529"/>
                <a:gd name="T107" fmla="*/ 894 h 129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29" h="1296">
                  <a:moveTo>
                    <a:pt x="480" y="1296"/>
                  </a:moveTo>
                  <a:lnTo>
                    <a:pt x="336" y="1248"/>
                  </a:lnTo>
                  <a:lnTo>
                    <a:pt x="192" y="1104"/>
                  </a:lnTo>
                  <a:lnTo>
                    <a:pt x="96" y="1008"/>
                  </a:lnTo>
                  <a:lnTo>
                    <a:pt x="48" y="864"/>
                  </a:lnTo>
                  <a:lnTo>
                    <a:pt x="0" y="720"/>
                  </a:lnTo>
                  <a:lnTo>
                    <a:pt x="0" y="528"/>
                  </a:lnTo>
                  <a:lnTo>
                    <a:pt x="96" y="288"/>
                  </a:lnTo>
                  <a:lnTo>
                    <a:pt x="336" y="48"/>
                  </a:lnTo>
                  <a:lnTo>
                    <a:pt x="480" y="0"/>
                  </a:lnTo>
                  <a:cubicBezTo>
                    <a:pt x="476" y="19"/>
                    <a:pt x="479" y="20"/>
                    <a:pt x="493" y="32"/>
                  </a:cubicBezTo>
                  <a:cubicBezTo>
                    <a:pt x="490" y="47"/>
                    <a:pt x="488" y="49"/>
                    <a:pt x="474" y="54"/>
                  </a:cubicBezTo>
                  <a:cubicBezTo>
                    <a:pt x="472" y="56"/>
                    <a:pt x="470" y="59"/>
                    <a:pt x="467" y="61"/>
                  </a:cubicBezTo>
                  <a:cubicBezTo>
                    <a:pt x="464" y="63"/>
                    <a:pt x="459" y="61"/>
                    <a:pt x="458" y="64"/>
                  </a:cubicBezTo>
                  <a:cubicBezTo>
                    <a:pt x="456" y="71"/>
                    <a:pt x="484" y="92"/>
                    <a:pt x="490" y="96"/>
                  </a:cubicBezTo>
                  <a:cubicBezTo>
                    <a:pt x="483" y="109"/>
                    <a:pt x="475" y="112"/>
                    <a:pt x="470" y="125"/>
                  </a:cubicBezTo>
                  <a:cubicBezTo>
                    <a:pt x="485" y="143"/>
                    <a:pt x="481" y="134"/>
                    <a:pt x="486" y="150"/>
                  </a:cubicBezTo>
                  <a:cubicBezTo>
                    <a:pt x="480" y="161"/>
                    <a:pt x="471" y="167"/>
                    <a:pt x="467" y="179"/>
                  </a:cubicBezTo>
                  <a:cubicBezTo>
                    <a:pt x="478" y="187"/>
                    <a:pt x="482" y="192"/>
                    <a:pt x="486" y="205"/>
                  </a:cubicBezTo>
                  <a:cubicBezTo>
                    <a:pt x="483" y="225"/>
                    <a:pt x="477" y="235"/>
                    <a:pt x="470" y="253"/>
                  </a:cubicBezTo>
                  <a:cubicBezTo>
                    <a:pt x="476" y="285"/>
                    <a:pt x="482" y="291"/>
                    <a:pt x="451" y="310"/>
                  </a:cubicBezTo>
                  <a:cubicBezTo>
                    <a:pt x="450" y="313"/>
                    <a:pt x="447" y="317"/>
                    <a:pt x="448" y="320"/>
                  </a:cubicBezTo>
                  <a:cubicBezTo>
                    <a:pt x="450" y="324"/>
                    <a:pt x="455" y="324"/>
                    <a:pt x="458" y="326"/>
                  </a:cubicBezTo>
                  <a:cubicBezTo>
                    <a:pt x="466" y="332"/>
                    <a:pt x="470" y="343"/>
                    <a:pt x="474" y="352"/>
                  </a:cubicBezTo>
                  <a:cubicBezTo>
                    <a:pt x="469" y="377"/>
                    <a:pt x="476" y="388"/>
                    <a:pt x="483" y="410"/>
                  </a:cubicBezTo>
                  <a:cubicBezTo>
                    <a:pt x="476" y="421"/>
                    <a:pt x="461" y="428"/>
                    <a:pt x="448" y="432"/>
                  </a:cubicBezTo>
                  <a:cubicBezTo>
                    <a:pt x="453" y="451"/>
                    <a:pt x="461" y="465"/>
                    <a:pt x="467" y="483"/>
                  </a:cubicBezTo>
                  <a:cubicBezTo>
                    <a:pt x="458" y="493"/>
                    <a:pt x="455" y="499"/>
                    <a:pt x="451" y="512"/>
                  </a:cubicBezTo>
                  <a:cubicBezTo>
                    <a:pt x="458" y="522"/>
                    <a:pt x="467" y="528"/>
                    <a:pt x="474" y="538"/>
                  </a:cubicBezTo>
                  <a:cubicBezTo>
                    <a:pt x="480" y="555"/>
                    <a:pt x="469" y="562"/>
                    <a:pt x="461" y="576"/>
                  </a:cubicBezTo>
                  <a:cubicBezTo>
                    <a:pt x="464" y="593"/>
                    <a:pt x="464" y="600"/>
                    <a:pt x="477" y="611"/>
                  </a:cubicBezTo>
                  <a:cubicBezTo>
                    <a:pt x="470" y="622"/>
                    <a:pt x="448" y="637"/>
                    <a:pt x="448" y="637"/>
                  </a:cubicBezTo>
                  <a:cubicBezTo>
                    <a:pt x="452" y="654"/>
                    <a:pt x="462" y="663"/>
                    <a:pt x="477" y="672"/>
                  </a:cubicBezTo>
                  <a:cubicBezTo>
                    <a:pt x="481" y="694"/>
                    <a:pt x="475" y="699"/>
                    <a:pt x="458" y="710"/>
                  </a:cubicBezTo>
                  <a:cubicBezTo>
                    <a:pt x="461" y="726"/>
                    <a:pt x="463" y="742"/>
                    <a:pt x="467" y="758"/>
                  </a:cubicBezTo>
                  <a:cubicBezTo>
                    <a:pt x="463" y="772"/>
                    <a:pt x="452" y="780"/>
                    <a:pt x="461" y="797"/>
                  </a:cubicBezTo>
                  <a:cubicBezTo>
                    <a:pt x="465" y="804"/>
                    <a:pt x="477" y="813"/>
                    <a:pt x="477" y="813"/>
                  </a:cubicBezTo>
                  <a:cubicBezTo>
                    <a:pt x="481" y="824"/>
                    <a:pt x="485" y="828"/>
                    <a:pt x="493" y="835"/>
                  </a:cubicBezTo>
                  <a:cubicBezTo>
                    <a:pt x="500" y="858"/>
                    <a:pt x="461" y="856"/>
                    <a:pt x="445" y="861"/>
                  </a:cubicBezTo>
                  <a:cubicBezTo>
                    <a:pt x="449" y="881"/>
                    <a:pt x="453" y="891"/>
                    <a:pt x="467" y="906"/>
                  </a:cubicBezTo>
                  <a:cubicBezTo>
                    <a:pt x="463" y="918"/>
                    <a:pt x="455" y="917"/>
                    <a:pt x="445" y="925"/>
                  </a:cubicBezTo>
                  <a:cubicBezTo>
                    <a:pt x="449" y="948"/>
                    <a:pt x="450" y="965"/>
                    <a:pt x="470" y="979"/>
                  </a:cubicBezTo>
                  <a:cubicBezTo>
                    <a:pt x="475" y="997"/>
                    <a:pt x="470" y="999"/>
                    <a:pt x="458" y="1011"/>
                  </a:cubicBezTo>
                  <a:cubicBezTo>
                    <a:pt x="480" y="1033"/>
                    <a:pt x="476" y="1036"/>
                    <a:pt x="506" y="1040"/>
                  </a:cubicBezTo>
                  <a:cubicBezTo>
                    <a:pt x="529" y="1048"/>
                    <a:pt x="502" y="1064"/>
                    <a:pt x="490" y="1066"/>
                  </a:cubicBezTo>
                  <a:cubicBezTo>
                    <a:pt x="465" y="1070"/>
                    <a:pt x="413" y="1072"/>
                    <a:pt x="413" y="1072"/>
                  </a:cubicBezTo>
                  <a:cubicBezTo>
                    <a:pt x="374" y="1081"/>
                    <a:pt x="404" y="1102"/>
                    <a:pt x="426" y="1107"/>
                  </a:cubicBezTo>
                  <a:cubicBezTo>
                    <a:pt x="438" y="1114"/>
                    <a:pt x="447" y="1113"/>
                    <a:pt x="451" y="1126"/>
                  </a:cubicBezTo>
                  <a:cubicBezTo>
                    <a:pt x="445" y="1147"/>
                    <a:pt x="441" y="1151"/>
                    <a:pt x="464" y="1158"/>
                  </a:cubicBezTo>
                  <a:cubicBezTo>
                    <a:pt x="458" y="1168"/>
                    <a:pt x="451" y="1172"/>
                    <a:pt x="448" y="1184"/>
                  </a:cubicBezTo>
                  <a:cubicBezTo>
                    <a:pt x="451" y="1196"/>
                    <a:pt x="458" y="1200"/>
                    <a:pt x="464" y="1210"/>
                  </a:cubicBezTo>
                  <a:cubicBezTo>
                    <a:pt x="434" y="1228"/>
                    <a:pt x="457" y="1244"/>
                    <a:pt x="480" y="1251"/>
                  </a:cubicBezTo>
                  <a:cubicBezTo>
                    <a:pt x="490" y="1263"/>
                    <a:pt x="485" y="1271"/>
                    <a:pt x="477" y="1283"/>
                  </a:cubicBezTo>
                  <a:cubicBezTo>
                    <a:pt x="480" y="1294"/>
                    <a:pt x="480" y="1290"/>
                    <a:pt x="480" y="1296"/>
                  </a:cubicBezTo>
                  <a:close/>
                </a:path>
              </a:pathLst>
            </a:custGeom>
            <a:blipFill dpi="0" rotWithShape="0">
              <a:blip r:embed="rId15"/>
              <a:srcRect/>
              <a:tile tx="0" ty="0" sx="100000" sy="100000" flip="none" algn="tl"/>
            </a:blipFill>
            <a:ln w="12700" cap="flat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37">
              <a:extLst>
                <a:ext uri="{FF2B5EF4-FFF2-40B4-BE49-F238E27FC236}">
                  <a16:creationId xmlns:a16="http://schemas.microsoft.com/office/drawing/2014/main" id="{15585D60-AD89-41D5-9BC6-5FAD8530072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22" y="2822"/>
              <a:ext cx="222" cy="271"/>
            </a:xfrm>
            <a:custGeom>
              <a:avLst/>
              <a:gdLst>
                <a:gd name="T0" fmla="*/ 74 w 432"/>
                <a:gd name="T1" fmla="*/ 0 h 528"/>
                <a:gd name="T2" fmla="*/ 0 w 432"/>
                <a:gd name="T3" fmla="*/ 222 h 528"/>
                <a:gd name="T4" fmla="*/ 148 w 432"/>
                <a:gd name="T5" fmla="*/ 271 h 528"/>
                <a:gd name="T6" fmla="*/ 222 w 432"/>
                <a:gd name="T7" fmla="*/ 49 h 528"/>
                <a:gd name="T8" fmla="*/ 74 w 432"/>
                <a:gd name="T9" fmla="*/ 0 h 5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2" h="528">
                  <a:moveTo>
                    <a:pt x="144" y="0"/>
                  </a:moveTo>
                  <a:lnTo>
                    <a:pt x="0" y="432"/>
                  </a:lnTo>
                  <a:lnTo>
                    <a:pt x="288" y="528"/>
                  </a:lnTo>
                  <a:lnTo>
                    <a:pt x="432" y="96"/>
                  </a:lnTo>
                  <a:lnTo>
                    <a:pt x="144" y="0"/>
                  </a:lnTo>
                  <a:close/>
                </a:path>
              </a:pathLst>
            </a:custGeom>
            <a:solidFill>
              <a:schemeClr val="bg1"/>
            </a:solidFill>
            <a:ln w="12700" cap="flat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 38">
              <a:extLst>
                <a:ext uri="{FF2B5EF4-FFF2-40B4-BE49-F238E27FC236}">
                  <a16:creationId xmlns:a16="http://schemas.microsoft.com/office/drawing/2014/main" id="{34556DE3-A201-4BD8-9C70-57CB17E9B56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96" y="1960"/>
              <a:ext cx="370" cy="1059"/>
            </a:xfrm>
            <a:custGeom>
              <a:avLst/>
              <a:gdLst>
                <a:gd name="T0" fmla="*/ 0 w 720"/>
                <a:gd name="T1" fmla="*/ 369 h 2064"/>
                <a:gd name="T2" fmla="*/ 123 w 720"/>
                <a:gd name="T3" fmla="*/ 0 h 2064"/>
                <a:gd name="T4" fmla="*/ 321 w 720"/>
                <a:gd name="T5" fmla="*/ 345 h 2064"/>
                <a:gd name="T6" fmla="*/ 370 w 720"/>
                <a:gd name="T7" fmla="*/ 542 h 2064"/>
                <a:gd name="T8" fmla="*/ 345 w 720"/>
                <a:gd name="T9" fmla="*/ 887 h 2064"/>
                <a:gd name="T10" fmla="*/ 99 w 720"/>
                <a:gd name="T11" fmla="*/ 1059 h 2064"/>
                <a:gd name="T12" fmla="*/ 148 w 720"/>
                <a:gd name="T13" fmla="*/ 911 h 2064"/>
                <a:gd name="T14" fmla="*/ 0 w 720"/>
                <a:gd name="T15" fmla="*/ 862 h 2064"/>
                <a:gd name="T16" fmla="*/ 148 w 720"/>
                <a:gd name="T17" fmla="*/ 419 h 2064"/>
                <a:gd name="T18" fmla="*/ 0 w 720"/>
                <a:gd name="T19" fmla="*/ 369 h 206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20" h="2064">
                  <a:moveTo>
                    <a:pt x="0" y="720"/>
                  </a:moveTo>
                  <a:lnTo>
                    <a:pt x="240" y="0"/>
                  </a:lnTo>
                  <a:lnTo>
                    <a:pt x="624" y="672"/>
                  </a:lnTo>
                  <a:lnTo>
                    <a:pt x="720" y="1056"/>
                  </a:lnTo>
                  <a:lnTo>
                    <a:pt x="672" y="1728"/>
                  </a:lnTo>
                  <a:lnTo>
                    <a:pt x="192" y="2064"/>
                  </a:lnTo>
                  <a:lnTo>
                    <a:pt x="288" y="1776"/>
                  </a:lnTo>
                  <a:lnTo>
                    <a:pt x="0" y="1680"/>
                  </a:lnTo>
                  <a:lnTo>
                    <a:pt x="288" y="816"/>
                  </a:lnTo>
                  <a:lnTo>
                    <a:pt x="0" y="72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12700" cap="flat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Oval 40">
              <a:extLst>
                <a:ext uri="{FF2B5EF4-FFF2-40B4-BE49-F238E27FC236}">
                  <a16:creationId xmlns:a16="http://schemas.microsoft.com/office/drawing/2014/main" id="{A38E945C-35F1-4B2E-A383-999BC18A095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906" y="2058"/>
              <a:ext cx="1035" cy="961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Line 41">
              <a:extLst>
                <a:ext uri="{FF2B5EF4-FFF2-40B4-BE49-F238E27FC236}">
                  <a16:creationId xmlns:a16="http://schemas.microsoft.com/office/drawing/2014/main" id="{CFC4DA46-E32C-461E-BE49-EC9F9A605F2E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2621" y="1886"/>
              <a:ext cx="123" cy="34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Line 42">
              <a:extLst>
                <a:ext uri="{FF2B5EF4-FFF2-40B4-BE49-F238E27FC236}">
                  <a16:creationId xmlns:a16="http://schemas.microsoft.com/office/drawing/2014/main" id="{EC5BF21F-B2BC-4338-9471-8B68772AF629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2621" y="1861"/>
              <a:ext cx="0" cy="37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Line 43">
              <a:extLst>
                <a:ext uri="{FF2B5EF4-FFF2-40B4-BE49-F238E27FC236}">
                  <a16:creationId xmlns:a16="http://schemas.microsoft.com/office/drawing/2014/main" id="{E5309F69-EFFB-42EB-BF6D-CDF733B48391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H="1">
              <a:off x="2448" y="2231"/>
              <a:ext cx="17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 44">
              <a:extLst>
                <a:ext uri="{FF2B5EF4-FFF2-40B4-BE49-F238E27FC236}">
                  <a16:creationId xmlns:a16="http://schemas.microsoft.com/office/drawing/2014/main" id="{0CC58495-A858-4926-9FB1-75A63D8E125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22" y="2329"/>
              <a:ext cx="222" cy="271"/>
            </a:xfrm>
            <a:custGeom>
              <a:avLst/>
              <a:gdLst>
                <a:gd name="T0" fmla="*/ 74 w 432"/>
                <a:gd name="T1" fmla="*/ 0 h 528"/>
                <a:gd name="T2" fmla="*/ 0 w 432"/>
                <a:gd name="T3" fmla="*/ 222 h 528"/>
                <a:gd name="T4" fmla="*/ 148 w 432"/>
                <a:gd name="T5" fmla="*/ 271 h 528"/>
                <a:gd name="T6" fmla="*/ 222 w 432"/>
                <a:gd name="T7" fmla="*/ 49 h 528"/>
                <a:gd name="T8" fmla="*/ 74 w 432"/>
                <a:gd name="T9" fmla="*/ 0 h 5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2" h="528">
                  <a:moveTo>
                    <a:pt x="144" y="0"/>
                  </a:moveTo>
                  <a:lnTo>
                    <a:pt x="0" y="432"/>
                  </a:lnTo>
                  <a:lnTo>
                    <a:pt x="288" y="528"/>
                  </a:lnTo>
                  <a:lnTo>
                    <a:pt x="432" y="96"/>
                  </a:lnTo>
                  <a:lnTo>
                    <a:pt x="144" y="0"/>
                  </a:lnTo>
                  <a:close/>
                </a:path>
              </a:pathLst>
            </a:custGeom>
            <a:solidFill>
              <a:schemeClr val="bg1"/>
            </a:solidFill>
            <a:ln w="12700" cap="flat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Line 57">
              <a:extLst>
                <a:ext uri="{FF2B5EF4-FFF2-40B4-BE49-F238E27FC236}">
                  <a16:creationId xmlns:a16="http://schemas.microsoft.com/office/drawing/2014/main" id="{0334BB37-0372-4A3C-B7E2-972D9654051A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H="1">
              <a:off x="2571" y="2896"/>
              <a:ext cx="641" cy="123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Line 58">
              <a:extLst>
                <a:ext uri="{FF2B5EF4-FFF2-40B4-BE49-F238E27FC236}">
                  <a16:creationId xmlns:a16="http://schemas.microsoft.com/office/drawing/2014/main" id="{F4EFF5BE-E988-47A1-9FEC-12FFAC98D570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H="1" flipV="1">
              <a:off x="2818" y="2206"/>
              <a:ext cx="394" cy="59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Oval 59">
              <a:extLst>
                <a:ext uri="{FF2B5EF4-FFF2-40B4-BE49-F238E27FC236}">
                  <a16:creationId xmlns:a16="http://schemas.microsoft.com/office/drawing/2014/main" id="{5D3C862D-168F-4843-9A17-2199E4BBA0B6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163" y="2798"/>
              <a:ext cx="98" cy="98"/>
            </a:xfrm>
            <a:prstGeom prst="ellipse">
              <a:avLst/>
            </a:prstGeom>
            <a:noFill/>
            <a:ln w="254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7" name="Picture 3" descr="A picture containing pink&#10;&#10;Description generated with high confidence">
            <a:extLst>
              <a:ext uri="{FF2B5EF4-FFF2-40B4-BE49-F238E27FC236}">
                <a16:creationId xmlns:a16="http://schemas.microsoft.com/office/drawing/2014/main" id="{1A56FF9A-14F2-4208-8B94-132F8E121DB5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556" y="3700861"/>
            <a:ext cx="1711622" cy="1438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941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22" grpId="0"/>
      <p:bldP spid="2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8125D0-E29B-4321-94C7-4D6F402899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9681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8125D0-E29B-4321-94C7-4D6F40289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96E080C-54C2-422A-8360-AC21AB48069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cs-CZ" sz="2800" u="none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F8CFA4-D18F-4493-B880-1877901A7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3" y="377740"/>
            <a:ext cx="11250485" cy="999031"/>
          </a:xfrm>
        </p:spPr>
        <p:txBody>
          <a:bodyPr vert="horz"/>
          <a:lstStyle/>
          <a:p>
            <a:r>
              <a:rPr lang="cs-CZ" sz="2400" u="sng" dirty="0">
                <a:solidFill>
                  <a:schemeClr val="tx1"/>
                </a:solidFill>
              </a:rPr>
              <a:t>VÝHODY A OMEZENÍ CHEMICKÝCH KOTEV:</a:t>
            </a:r>
            <a:endParaRPr lang="en-GB" sz="2400" u="sng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A10B09-20D1-4CA2-A73C-0F83F4B220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4</a:t>
            </a:fld>
            <a:endParaRPr lang="en-US" noProof="0" dirty="0"/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1F4039ED-AA30-4321-AF3A-BB387D16F14E}"/>
              </a:ext>
            </a:extLst>
          </p:cNvPr>
          <p:cNvSpPr txBox="1"/>
          <p:nvPr/>
        </p:nvSpPr>
        <p:spPr>
          <a:xfrm>
            <a:off x="1240355" y="2301331"/>
            <a:ext cx="4225159" cy="4188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285750" indent="-285750" algn="l" fontAlgn="auto">
              <a:buFont typeface="Wingdings" panose="05000000000000000000" pitchFamily="2" charset="2"/>
              <a:buChar char="§"/>
            </a:pPr>
            <a:r>
              <a:rPr lang="cs-CZ" sz="1600" dirty="0">
                <a:solidFill>
                  <a:srgbClr val="313537"/>
                </a:solidFill>
                <a:latin typeface="Hilti Brand"/>
              </a:rPr>
              <a:t>M</a:t>
            </a:r>
            <a:r>
              <a:rPr lang="cs-CZ" sz="1600" b="0" i="0" dirty="0">
                <a:solidFill>
                  <a:srgbClr val="313537"/>
                </a:solidFill>
                <a:effectLst/>
                <a:latin typeface="Hilti Brand"/>
              </a:rPr>
              <a:t>alé okrajové vzdálenosti a osové vzdálenosti mezi kotvami </a:t>
            </a: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endParaRPr lang="cs-CZ" sz="1600" b="0" i="0" dirty="0">
              <a:solidFill>
                <a:srgbClr val="313537"/>
              </a:solidFill>
              <a:effectLst/>
              <a:latin typeface="Hilti Brand"/>
            </a:endParaRP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r>
              <a:rPr lang="cs-CZ" sz="1600" b="0" i="0" dirty="0">
                <a:solidFill>
                  <a:srgbClr val="313537"/>
                </a:solidFill>
                <a:effectLst/>
                <a:latin typeface="Hilti Brand"/>
              </a:rPr>
              <a:t>Flexibilita (různá kotevní hloubka, závitové tyče, výztuže, velké průměry, větší mezery mezi deskou kotevním šroubem)</a:t>
            </a: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endParaRPr lang="cs-CZ" sz="1600" b="0" i="0" dirty="0">
              <a:solidFill>
                <a:srgbClr val="313537"/>
              </a:solidFill>
              <a:effectLst/>
              <a:latin typeface="Hilti Brand"/>
            </a:endParaRP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r>
              <a:rPr lang="cs-CZ" sz="1600" b="0" i="0" dirty="0">
                <a:solidFill>
                  <a:srgbClr val="313537"/>
                </a:solidFill>
                <a:effectLst/>
                <a:latin typeface="Hilti Brand"/>
              </a:rPr>
              <a:t>Univerzálnost: v různých typech základních materiálů</a:t>
            </a: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endParaRPr lang="cs-CZ" sz="1600" b="0" i="0" dirty="0">
              <a:solidFill>
                <a:srgbClr val="313537"/>
              </a:solidFill>
              <a:effectLst/>
              <a:latin typeface="Hilti Brand"/>
            </a:endParaRP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r>
              <a:rPr lang="cs-CZ" sz="1600" b="0" i="0" dirty="0">
                <a:solidFill>
                  <a:srgbClr val="313537"/>
                </a:solidFill>
                <a:effectLst/>
                <a:latin typeface="Hilti Brand"/>
              </a:rPr>
              <a:t>Dobrá požární odolnost</a:t>
            </a: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endParaRPr lang="cs-CZ" sz="1600" b="0" i="0" dirty="0">
              <a:solidFill>
                <a:srgbClr val="313537"/>
              </a:solidFill>
              <a:effectLst/>
              <a:latin typeface="Hilti Brand"/>
            </a:endParaRP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r>
              <a:rPr lang="cs-CZ" sz="1600" b="0" i="0" dirty="0">
                <a:solidFill>
                  <a:srgbClr val="313537"/>
                </a:solidFill>
                <a:effectLst/>
                <a:latin typeface="Hilti Brand"/>
              </a:rPr>
              <a:t>Kotevní otvor je zaplněný / vodotěsný</a:t>
            </a: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endParaRPr lang="cs-CZ" sz="1600" dirty="0">
              <a:solidFill>
                <a:srgbClr val="313537"/>
              </a:solidFill>
              <a:latin typeface="Hilti Brand"/>
            </a:endParaRP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r>
              <a:rPr lang="cs-CZ" sz="1600" dirty="0">
                <a:solidFill>
                  <a:srgbClr val="313537"/>
                </a:solidFill>
                <a:latin typeface="Hilti Brand"/>
              </a:rPr>
              <a:t>Odolnost pro dynamickému namáhání</a:t>
            </a:r>
            <a:endParaRPr lang="cs-CZ" sz="1600" b="0" i="0" dirty="0">
              <a:solidFill>
                <a:srgbClr val="313537"/>
              </a:solidFill>
              <a:effectLst/>
              <a:latin typeface="Hilti Brand"/>
            </a:endParaRPr>
          </a:p>
          <a:p>
            <a:pPr marL="241200" indent="-241200" algn="l" rtl="0" eaLnBrk="1" fontAlgn="auto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</a:pPr>
            <a:endParaRPr lang="cs-CZ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502059D-0EFA-4B1F-9C47-A63E12DD0F2F}"/>
              </a:ext>
            </a:extLst>
          </p:cNvPr>
          <p:cNvSpPr txBox="1"/>
          <p:nvPr/>
        </p:nvSpPr>
        <p:spPr>
          <a:xfrm>
            <a:off x="6957312" y="2301331"/>
            <a:ext cx="4225159" cy="280076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285750" indent="-285750" algn="l" fontAlgn="auto">
              <a:buFont typeface="Wingdings" panose="05000000000000000000" pitchFamily="2" charset="2"/>
              <a:buChar char="§"/>
            </a:pPr>
            <a:r>
              <a:rPr lang="cs-CZ" sz="1600" dirty="0">
                <a:solidFill>
                  <a:srgbClr val="313537"/>
                </a:solidFill>
                <a:latin typeface="Hilti Brand"/>
              </a:rPr>
              <a:t>Není možnost ihned po instalaci zatížit</a:t>
            </a: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endParaRPr lang="cs-CZ" sz="1600" dirty="0">
              <a:solidFill>
                <a:srgbClr val="313537"/>
              </a:solidFill>
              <a:latin typeface="Hilti Brand"/>
            </a:endParaRP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r>
              <a:rPr lang="cs-CZ" sz="1600" dirty="0">
                <a:solidFill>
                  <a:srgbClr val="313537"/>
                </a:solidFill>
                <a:latin typeface="Hilti Brand"/>
              </a:rPr>
              <a:t>Všechny chemické hmoty mají omezené datum spotřeby – požadavky na správné skladování</a:t>
            </a:r>
          </a:p>
          <a:p>
            <a:pPr algn="l" fontAlgn="auto"/>
            <a:endParaRPr lang="cs-CZ" sz="1600" dirty="0">
              <a:solidFill>
                <a:srgbClr val="313537"/>
              </a:solidFill>
              <a:latin typeface="Hilti Brand"/>
            </a:endParaRP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r>
              <a:rPr lang="cs-CZ" sz="1600" dirty="0">
                <a:solidFill>
                  <a:srgbClr val="313537"/>
                </a:solidFill>
                <a:latin typeface="Hilti Brand"/>
              </a:rPr>
              <a:t>Montáž je více komplexní než u mechanických kotev</a:t>
            </a: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endParaRPr lang="cs-CZ" sz="1600" dirty="0">
              <a:solidFill>
                <a:srgbClr val="313537"/>
              </a:solidFill>
              <a:latin typeface="Hilti Brand"/>
            </a:endParaRP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r>
              <a:rPr lang="cs-CZ" sz="1600" b="0" i="0" u="none" baseline="0" dirty="0">
                <a:solidFill>
                  <a:srgbClr val="313537"/>
                </a:solidFill>
                <a:latin typeface="Hilti Brand"/>
              </a:rPr>
              <a:t>Více citlivé na správné čištění kotevního otvoru</a:t>
            </a:r>
            <a:endParaRPr lang="cs-CZ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F4358F40-F6F4-4D19-9160-9C370B2815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26120" y="1376771"/>
            <a:ext cx="638095" cy="628571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0FEE82C8-1B9E-416B-B5F0-93292C086B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32547" y="1414866"/>
            <a:ext cx="733333" cy="59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285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Rechteck 22">
            <a:extLst>
              <a:ext uri="{FF2B5EF4-FFF2-40B4-BE49-F238E27FC236}">
                <a16:creationId xmlns:a16="http://schemas.microsoft.com/office/drawing/2014/main" id="{1CC9FEA8-B085-49F7-A8E8-6C50DDE0DA7F}"/>
              </a:ext>
            </a:extLst>
          </p:cNvPr>
          <p:cNvSpPr/>
          <p:nvPr/>
        </p:nvSpPr>
        <p:spPr bwMode="gray">
          <a:xfrm>
            <a:off x="9218063" y="2867214"/>
            <a:ext cx="2682287" cy="25916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t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ařezávací s tvarovým zámke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8125D0-E29B-4321-94C7-4D6F402899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8578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8125D0-E29B-4321-94C7-4D6F40289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96E080C-54C2-422A-8360-AC21AB48069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cs-CZ" sz="2800" u="none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F8CFA4-D18F-4493-B880-1877901A7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3" y="377740"/>
            <a:ext cx="11250485" cy="999031"/>
          </a:xfrm>
        </p:spPr>
        <p:txBody>
          <a:bodyPr vert="horz"/>
          <a:lstStyle/>
          <a:p>
            <a:r>
              <a:rPr lang="cs-CZ" sz="2400" u="sng" dirty="0">
                <a:solidFill>
                  <a:schemeClr val="tx1"/>
                </a:solidFill>
              </a:rPr>
              <a:t>PRINCIPY FUNGOVÁNÍ MECHANICKÝH KOTEV:</a:t>
            </a:r>
            <a:endParaRPr lang="en-GB" sz="2400" u="sng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A10B09-20D1-4CA2-A73C-0F83F4B220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5</a:t>
            </a:fld>
            <a:endParaRPr lang="en-US" noProof="0" dirty="0"/>
          </a:p>
        </p:txBody>
      </p:sp>
      <p:sp>
        <p:nvSpPr>
          <p:cNvPr id="36" name="Rechteck 22">
            <a:extLst>
              <a:ext uri="{FF2B5EF4-FFF2-40B4-BE49-F238E27FC236}">
                <a16:creationId xmlns:a16="http://schemas.microsoft.com/office/drawing/2014/main" id="{68E28C50-7A88-4B0E-AC04-80F3A842C9AE}"/>
              </a:ext>
            </a:extLst>
          </p:cNvPr>
          <p:cNvSpPr/>
          <p:nvPr/>
        </p:nvSpPr>
        <p:spPr bwMode="gray">
          <a:xfrm>
            <a:off x="6240463" y="2867214"/>
            <a:ext cx="2682287" cy="25916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t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Šrouby do betonu s mikro tvarovým zámke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Rechteck 22">
            <a:extLst>
              <a:ext uri="{FF2B5EF4-FFF2-40B4-BE49-F238E27FC236}">
                <a16:creationId xmlns:a16="http://schemas.microsoft.com/office/drawing/2014/main" id="{18520A23-50D3-444E-B525-8C97E5875CA8}"/>
              </a:ext>
            </a:extLst>
          </p:cNvPr>
          <p:cNvSpPr/>
          <p:nvPr/>
        </p:nvSpPr>
        <p:spPr bwMode="gray">
          <a:xfrm>
            <a:off x="3262863" y="2867229"/>
            <a:ext cx="2682287" cy="25916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t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ktivované utahovacím momente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Rechteck 22">
            <a:extLst>
              <a:ext uri="{FF2B5EF4-FFF2-40B4-BE49-F238E27FC236}">
                <a16:creationId xmlns:a16="http://schemas.microsoft.com/office/drawing/2014/main" id="{3E0B90D6-A8EA-4271-87C3-C10BF21B46BC}"/>
              </a:ext>
            </a:extLst>
          </p:cNvPr>
          <p:cNvSpPr/>
          <p:nvPr/>
        </p:nvSpPr>
        <p:spPr bwMode="gray">
          <a:xfrm>
            <a:off x="285263" y="2867229"/>
            <a:ext cx="2682287" cy="25916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t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ktivované řízenou deformací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Rechteck 44">
            <a:extLst>
              <a:ext uri="{FF2B5EF4-FFF2-40B4-BE49-F238E27FC236}">
                <a16:creationId xmlns:a16="http://schemas.microsoft.com/office/drawing/2014/main" id="{208F2FF8-990E-4921-90E2-EE119CA1E6DE}"/>
              </a:ext>
            </a:extLst>
          </p:cNvPr>
          <p:cNvSpPr/>
          <p:nvPr/>
        </p:nvSpPr>
        <p:spPr bwMode="gray">
          <a:xfrm>
            <a:off x="4778496" y="2960987"/>
            <a:ext cx="192021" cy="960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0" name="Gerade Verbindung 57">
            <a:extLst>
              <a:ext uri="{FF2B5EF4-FFF2-40B4-BE49-F238E27FC236}">
                <a16:creationId xmlns:a16="http://schemas.microsoft.com/office/drawing/2014/main" id="{05CBDFA4-E8CE-4D29-8766-DB38601D2CBD}"/>
              </a:ext>
            </a:extLst>
          </p:cNvPr>
          <p:cNvCxnSpPr>
            <a:cxnSpLocks/>
          </p:cNvCxnSpPr>
          <p:nvPr/>
        </p:nvCxnSpPr>
        <p:spPr bwMode="gray">
          <a:xfrm>
            <a:off x="4611000" y="2597140"/>
            <a:ext cx="0" cy="278891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8">
            <a:extLst>
              <a:ext uri="{FF2B5EF4-FFF2-40B4-BE49-F238E27FC236}">
                <a16:creationId xmlns:a16="http://schemas.microsoft.com/office/drawing/2014/main" id="{0AEBC9B9-4F31-4764-A3E5-69C5F812258E}"/>
              </a:ext>
            </a:extLst>
          </p:cNvPr>
          <p:cNvSpPr/>
          <p:nvPr/>
        </p:nvSpPr>
        <p:spPr bwMode="gray">
          <a:xfrm>
            <a:off x="4502086" y="1916032"/>
            <a:ext cx="3138004" cy="4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chanické kotvy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2" name="Gerade Verbindung 57">
            <a:extLst>
              <a:ext uri="{FF2B5EF4-FFF2-40B4-BE49-F238E27FC236}">
                <a16:creationId xmlns:a16="http://schemas.microsoft.com/office/drawing/2014/main" id="{638747C1-CAEB-4E56-9512-376D66F833CC}"/>
              </a:ext>
            </a:extLst>
          </p:cNvPr>
          <p:cNvCxnSpPr>
            <a:cxnSpLocks/>
            <a:stCxn id="41" idx="2"/>
          </p:cNvCxnSpPr>
          <p:nvPr/>
        </p:nvCxnSpPr>
        <p:spPr bwMode="gray">
          <a:xfrm>
            <a:off x="6071088" y="2396032"/>
            <a:ext cx="0" cy="219611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5">
            <a:extLst>
              <a:ext uri="{FF2B5EF4-FFF2-40B4-BE49-F238E27FC236}">
                <a16:creationId xmlns:a16="http://schemas.microsoft.com/office/drawing/2014/main" id="{88EBC27E-7A35-4032-9F62-D88C77138C94}"/>
              </a:ext>
            </a:extLst>
          </p:cNvPr>
          <p:cNvCxnSpPr>
            <a:cxnSpLocks/>
          </p:cNvCxnSpPr>
          <p:nvPr/>
        </p:nvCxnSpPr>
        <p:spPr>
          <a:xfrm flipV="1">
            <a:off x="10559207" y="2620640"/>
            <a:ext cx="0" cy="246574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7">
            <a:extLst>
              <a:ext uri="{FF2B5EF4-FFF2-40B4-BE49-F238E27FC236}">
                <a16:creationId xmlns:a16="http://schemas.microsoft.com/office/drawing/2014/main" id="{7A4735E4-3845-4EC5-9DD0-B297B29BA1DC}"/>
              </a:ext>
            </a:extLst>
          </p:cNvPr>
          <p:cNvCxnSpPr>
            <a:cxnSpLocks/>
            <a:stCxn id="38" idx="0"/>
          </p:cNvCxnSpPr>
          <p:nvPr/>
        </p:nvCxnSpPr>
        <p:spPr>
          <a:xfrm flipV="1">
            <a:off x="1626407" y="2587127"/>
            <a:ext cx="0" cy="280102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9">
            <a:extLst>
              <a:ext uri="{FF2B5EF4-FFF2-40B4-BE49-F238E27FC236}">
                <a16:creationId xmlns:a16="http://schemas.microsoft.com/office/drawing/2014/main" id="{6044944A-5BDE-4481-BF15-67980889799F}"/>
              </a:ext>
            </a:extLst>
          </p:cNvPr>
          <p:cNvCxnSpPr>
            <a:cxnSpLocks/>
            <a:stCxn id="36" idx="0"/>
          </p:cNvCxnSpPr>
          <p:nvPr/>
        </p:nvCxnSpPr>
        <p:spPr>
          <a:xfrm flipV="1">
            <a:off x="7581607" y="2620640"/>
            <a:ext cx="0" cy="246574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13">
            <a:extLst>
              <a:ext uri="{FF2B5EF4-FFF2-40B4-BE49-F238E27FC236}">
                <a16:creationId xmlns:a16="http://schemas.microsoft.com/office/drawing/2014/main" id="{0DBE0A6D-C562-457E-BF80-C85E82D862A3}"/>
              </a:ext>
            </a:extLst>
          </p:cNvPr>
          <p:cNvCxnSpPr/>
          <p:nvPr/>
        </p:nvCxnSpPr>
        <p:spPr>
          <a:xfrm>
            <a:off x="1626406" y="2597140"/>
            <a:ext cx="8932800" cy="28915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AutoShape 10">
            <a:extLst>
              <a:ext uri="{FF2B5EF4-FFF2-40B4-BE49-F238E27FC236}">
                <a16:creationId xmlns:a16="http://schemas.microsoft.com/office/drawing/2014/main" id="{8DDEAA87-ACA1-4FD2-97F0-C749F7279B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5428" y="3588589"/>
            <a:ext cx="374438" cy="260632"/>
          </a:xfrm>
          <a:prstGeom prst="curvedRightArrow">
            <a:avLst>
              <a:gd name="adj1" fmla="val 21580"/>
              <a:gd name="adj2" fmla="val 48105"/>
              <a:gd name="adj3" fmla="val 3999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8" name="Picture 5" descr="335082-Model-(1)">
            <a:extLst>
              <a:ext uri="{FF2B5EF4-FFF2-40B4-BE49-F238E27FC236}">
                <a16:creationId xmlns:a16="http://schemas.microsoft.com/office/drawing/2014/main" id="{57C4A358-7DA4-4FE0-B67E-428084BA1CE1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lum bright="-20000" contrast="2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451" y="3915274"/>
            <a:ext cx="1132312" cy="1343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Arrow: Right 21">
            <a:extLst>
              <a:ext uri="{FF2B5EF4-FFF2-40B4-BE49-F238E27FC236}">
                <a16:creationId xmlns:a16="http://schemas.microsoft.com/office/drawing/2014/main" id="{921AE3E1-AA4C-4174-AB79-7E87EE659028}"/>
              </a:ext>
            </a:extLst>
          </p:cNvPr>
          <p:cNvSpPr/>
          <p:nvPr/>
        </p:nvSpPr>
        <p:spPr>
          <a:xfrm rot="5400000">
            <a:off x="1486352" y="3652983"/>
            <a:ext cx="280105" cy="131843"/>
          </a:xfrm>
          <a:prstGeom prst="rightArrow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Arrow: Right 107">
            <a:extLst>
              <a:ext uri="{FF2B5EF4-FFF2-40B4-BE49-F238E27FC236}">
                <a16:creationId xmlns:a16="http://schemas.microsoft.com/office/drawing/2014/main" id="{18BC3207-6867-4DC2-AD53-B8760F8C544C}"/>
              </a:ext>
            </a:extLst>
          </p:cNvPr>
          <p:cNvSpPr/>
          <p:nvPr/>
        </p:nvSpPr>
        <p:spPr>
          <a:xfrm rot="3071317">
            <a:off x="7143732" y="4308408"/>
            <a:ext cx="266052" cy="75932"/>
          </a:xfrm>
          <a:prstGeom prst="rightArrow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Arrow: Right 108">
            <a:extLst>
              <a:ext uri="{FF2B5EF4-FFF2-40B4-BE49-F238E27FC236}">
                <a16:creationId xmlns:a16="http://schemas.microsoft.com/office/drawing/2014/main" id="{5CDD39E8-7CB8-4794-97A8-6D99B51D5EA9}"/>
              </a:ext>
            </a:extLst>
          </p:cNvPr>
          <p:cNvSpPr/>
          <p:nvPr/>
        </p:nvSpPr>
        <p:spPr>
          <a:xfrm rot="3071317">
            <a:off x="7143733" y="4682518"/>
            <a:ext cx="266052" cy="75932"/>
          </a:xfrm>
          <a:prstGeom prst="rightArrow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Arrow: Right 109">
            <a:extLst>
              <a:ext uri="{FF2B5EF4-FFF2-40B4-BE49-F238E27FC236}">
                <a16:creationId xmlns:a16="http://schemas.microsoft.com/office/drawing/2014/main" id="{3760772D-FB16-406F-892E-D0BF3AC975E0}"/>
              </a:ext>
            </a:extLst>
          </p:cNvPr>
          <p:cNvSpPr/>
          <p:nvPr/>
        </p:nvSpPr>
        <p:spPr>
          <a:xfrm rot="3071317">
            <a:off x="7143732" y="3941201"/>
            <a:ext cx="266052" cy="75932"/>
          </a:xfrm>
          <a:prstGeom prst="rightArrow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Arrow: Right 110">
            <a:extLst>
              <a:ext uri="{FF2B5EF4-FFF2-40B4-BE49-F238E27FC236}">
                <a16:creationId xmlns:a16="http://schemas.microsoft.com/office/drawing/2014/main" id="{D8497D2C-D4CB-4642-A8A4-AB38E1502C4D}"/>
              </a:ext>
            </a:extLst>
          </p:cNvPr>
          <p:cNvSpPr/>
          <p:nvPr/>
        </p:nvSpPr>
        <p:spPr>
          <a:xfrm rot="8153365">
            <a:off x="7823817" y="4138218"/>
            <a:ext cx="266052" cy="75932"/>
          </a:xfrm>
          <a:prstGeom prst="rightArrow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Arrow: Right 111">
            <a:extLst>
              <a:ext uri="{FF2B5EF4-FFF2-40B4-BE49-F238E27FC236}">
                <a16:creationId xmlns:a16="http://schemas.microsoft.com/office/drawing/2014/main" id="{0BE6ED1C-3125-4C30-942D-9DFA9194916D}"/>
              </a:ext>
            </a:extLst>
          </p:cNvPr>
          <p:cNvSpPr/>
          <p:nvPr/>
        </p:nvSpPr>
        <p:spPr>
          <a:xfrm rot="8153365">
            <a:off x="7823816" y="4512327"/>
            <a:ext cx="266052" cy="75932"/>
          </a:xfrm>
          <a:prstGeom prst="rightArrow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5" name="Picture 23" descr="A picture containing outdoor, water, standing, walking&#10;&#10;Description automatically generated">
            <a:extLst>
              <a:ext uri="{FF2B5EF4-FFF2-40B4-BE49-F238E27FC236}">
                <a16:creationId xmlns:a16="http://schemas.microsoft.com/office/drawing/2014/main" id="{E9AF7BAA-A8F5-49ED-97A8-1070527E4A8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981185" y="4358159"/>
            <a:ext cx="1290440" cy="404338"/>
          </a:xfrm>
          <a:prstGeom prst="rect">
            <a:avLst/>
          </a:prstGeom>
        </p:spPr>
      </p:pic>
      <p:pic>
        <p:nvPicPr>
          <p:cNvPr id="56" name="Picture 26">
            <a:extLst>
              <a:ext uri="{FF2B5EF4-FFF2-40B4-BE49-F238E27FC236}">
                <a16:creationId xmlns:a16="http://schemas.microsoft.com/office/drawing/2014/main" id="{799B8911-62D8-4801-B409-EA13B79DBC6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6200000">
            <a:off x="3962715" y="4376175"/>
            <a:ext cx="1296570" cy="374436"/>
          </a:xfrm>
          <a:prstGeom prst="rect">
            <a:avLst/>
          </a:prstGeom>
        </p:spPr>
      </p:pic>
      <p:pic>
        <p:nvPicPr>
          <p:cNvPr id="57" name="Grafik 3">
            <a:extLst>
              <a:ext uri="{FF2B5EF4-FFF2-40B4-BE49-F238E27FC236}">
                <a16:creationId xmlns:a16="http://schemas.microsoft.com/office/drawing/2014/main" id="{067A77B8-0D0C-4E36-AE36-81F6BEB3004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6200000">
            <a:off x="8841975" y="4212003"/>
            <a:ext cx="1462200" cy="362920"/>
          </a:xfrm>
          <a:prstGeom prst="rect">
            <a:avLst/>
          </a:prstGeom>
        </p:spPr>
      </p:pic>
      <p:pic>
        <p:nvPicPr>
          <p:cNvPr id="58" name="Grafik 11">
            <a:extLst>
              <a:ext uri="{FF2B5EF4-FFF2-40B4-BE49-F238E27FC236}">
                <a16:creationId xmlns:a16="http://schemas.microsoft.com/office/drawing/2014/main" id="{16F042CF-40DD-4F1A-BB55-A19403119E5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6200000">
            <a:off x="10179106" y="3716702"/>
            <a:ext cx="1462199" cy="1353522"/>
          </a:xfrm>
          <a:prstGeom prst="rect">
            <a:avLst/>
          </a:prstGeom>
        </p:spPr>
      </p:pic>
      <p:sp>
        <p:nvSpPr>
          <p:cNvPr id="59" name="Oval 27">
            <a:extLst>
              <a:ext uri="{FF2B5EF4-FFF2-40B4-BE49-F238E27FC236}">
                <a16:creationId xmlns:a16="http://schemas.microsoft.com/office/drawing/2014/main" id="{8711935A-9937-46FD-B768-720124BC89D1}"/>
              </a:ext>
            </a:extLst>
          </p:cNvPr>
          <p:cNvSpPr/>
          <p:nvPr/>
        </p:nvSpPr>
        <p:spPr>
          <a:xfrm>
            <a:off x="9387771" y="4806512"/>
            <a:ext cx="383201" cy="356801"/>
          </a:xfrm>
          <a:prstGeom prst="ellipse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0" name="Straight Connector 29">
            <a:extLst>
              <a:ext uri="{FF2B5EF4-FFF2-40B4-BE49-F238E27FC236}">
                <a16:creationId xmlns:a16="http://schemas.microsoft.com/office/drawing/2014/main" id="{B611DC9C-2E25-4FC8-A028-2D0D685D2AA1}"/>
              </a:ext>
            </a:extLst>
          </p:cNvPr>
          <p:cNvCxnSpPr>
            <a:stCxn id="59" idx="0"/>
          </p:cNvCxnSpPr>
          <p:nvPr/>
        </p:nvCxnSpPr>
        <p:spPr>
          <a:xfrm flipV="1">
            <a:off x="9579372" y="3662363"/>
            <a:ext cx="654072" cy="1144149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31">
            <a:extLst>
              <a:ext uri="{FF2B5EF4-FFF2-40B4-BE49-F238E27FC236}">
                <a16:creationId xmlns:a16="http://schemas.microsoft.com/office/drawing/2014/main" id="{241A7965-D330-4C57-8DCA-65F908D6291F}"/>
              </a:ext>
            </a:extLst>
          </p:cNvPr>
          <p:cNvCxnSpPr>
            <a:stCxn id="59" idx="4"/>
          </p:cNvCxnSpPr>
          <p:nvPr/>
        </p:nvCxnSpPr>
        <p:spPr>
          <a:xfrm flipV="1">
            <a:off x="9579372" y="5124563"/>
            <a:ext cx="654072" cy="3875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Arrow: Right 115">
            <a:extLst>
              <a:ext uri="{FF2B5EF4-FFF2-40B4-BE49-F238E27FC236}">
                <a16:creationId xmlns:a16="http://schemas.microsoft.com/office/drawing/2014/main" id="{95C49FEE-EC12-4E08-9AC5-02BB4FF90F3B}"/>
              </a:ext>
            </a:extLst>
          </p:cNvPr>
          <p:cNvSpPr/>
          <p:nvPr/>
        </p:nvSpPr>
        <p:spPr>
          <a:xfrm rot="5400000">
            <a:off x="10389392" y="4366639"/>
            <a:ext cx="266052" cy="75932"/>
          </a:xfrm>
          <a:prstGeom prst="rightArrow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Arrow: Right 116">
            <a:extLst>
              <a:ext uri="{FF2B5EF4-FFF2-40B4-BE49-F238E27FC236}">
                <a16:creationId xmlns:a16="http://schemas.microsoft.com/office/drawing/2014/main" id="{DFF6A5CA-34D5-4910-8FF1-05779824400C}"/>
              </a:ext>
            </a:extLst>
          </p:cNvPr>
          <p:cNvSpPr/>
          <p:nvPr/>
        </p:nvSpPr>
        <p:spPr>
          <a:xfrm rot="5400000">
            <a:off x="11200060" y="4366639"/>
            <a:ext cx="266052" cy="75932"/>
          </a:xfrm>
          <a:prstGeom prst="rightArrow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094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8125D0-E29B-4321-94C7-4D6F402899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848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8125D0-E29B-4321-94C7-4D6F40289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96E080C-54C2-422A-8360-AC21AB48069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cs-CZ" sz="2800" u="none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F8CFA4-D18F-4493-B880-1877901A7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3" y="377740"/>
            <a:ext cx="11250485" cy="999031"/>
          </a:xfrm>
        </p:spPr>
        <p:txBody>
          <a:bodyPr vert="horz"/>
          <a:lstStyle/>
          <a:p>
            <a:r>
              <a:rPr lang="cs-CZ" sz="2400" u="sng" dirty="0">
                <a:solidFill>
                  <a:schemeClr val="tx1"/>
                </a:solidFill>
              </a:rPr>
              <a:t>VÝHODY A OMEZENÍ MECHANICKÝCH KOTEV:</a:t>
            </a:r>
            <a:endParaRPr lang="en-GB" sz="2400" u="sng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A10B09-20D1-4CA2-A73C-0F83F4B220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6</a:t>
            </a:fld>
            <a:endParaRPr lang="en-US" noProof="0" dirty="0"/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E940B41-B881-4412-B4F4-57888A94B54A}"/>
              </a:ext>
            </a:extLst>
          </p:cNvPr>
          <p:cNvSpPr txBox="1"/>
          <p:nvPr/>
        </p:nvSpPr>
        <p:spPr>
          <a:xfrm>
            <a:off x="1127233" y="2628584"/>
            <a:ext cx="4225159" cy="206210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285750" indent="-285750" algn="l" fontAlgn="auto">
              <a:buFont typeface="Wingdings" panose="05000000000000000000" pitchFamily="2" charset="2"/>
              <a:buChar char="§"/>
            </a:pPr>
            <a:r>
              <a:rPr lang="cs-CZ" sz="1600" dirty="0">
                <a:solidFill>
                  <a:srgbClr val="313537"/>
                </a:solidFill>
                <a:latin typeface="Hilti Brand"/>
              </a:rPr>
              <a:t>Možnost zatížit ihned po instalaci</a:t>
            </a: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endParaRPr lang="cs-CZ" sz="1600" dirty="0">
              <a:solidFill>
                <a:srgbClr val="313537"/>
              </a:solidFill>
              <a:latin typeface="Hilti Brand"/>
            </a:endParaRP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r>
              <a:rPr lang="cs-CZ" sz="1600" dirty="0">
                <a:solidFill>
                  <a:srgbClr val="313537"/>
                </a:solidFill>
                <a:latin typeface="Hilti Brand"/>
              </a:rPr>
              <a:t>Jednoduché na montáž</a:t>
            </a: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endParaRPr lang="cs-CZ" sz="1600" dirty="0">
              <a:solidFill>
                <a:srgbClr val="313537"/>
              </a:solidFill>
              <a:latin typeface="Hilti Brand"/>
            </a:endParaRP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r>
              <a:rPr lang="cs-CZ" sz="1600" dirty="0">
                <a:solidFill>
                  <a:srgbClr val="313537"/>
                </a:solidFill>
                <a:latin typeface="Hilti Brand"/>
              </a:rPr>
              <a:t>Žádné omezení data spotřeby (expirace)</a:t>
            </a: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endParaRPr lang="cs-CZ" sz="1600" dirty="0">
              <a:solidFill>
                <a:srgbClr val="313537"/>
              </a:solidFill>
              <a:latin typeface="Hilti Brand"/>
            </a:endParaRP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r>
              <a:rPr lang="cs-CZ" sz="1600" dirty="0">
                <a:solidFill>
                  <a:srgbClr val="313537"/>
                </a:solidFill>
                <a:latin typeface="Hilti Brand"/>
              </a:rPr>
              <a:t>Vysoká požární odolnost</a:t>
            </a:r>
          </a:p>
          <a:p>
            <a:pPr algn="l" fontAlgn="auto"/>
            <a:endParaRPr lang="cs-CZ" sz="1600" dirty="0">
              <a:solidFill>
                <a:srgbClr val="313537"/>
              </a:solidFill>
              <a:latin typeface="Hilti Brand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17D3362D-D23A-45E0-BB36-FEB226F9D676}"/>
              </a:ext>
            </a:extLst>
          </p:cNvPr>
          <p:cNvSpPr txBox="1"/>
          <p:nvPr/>
        </p:nvSpPr>
        <p:spPr>
          <a:xfrm>
            <a:off x="6844190" y="2628584"/>
            <a:ext cx="4225159" cy="255454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285750" indent="-285750" algn="l" fontAlgn="auto">
              <a:buFont typeface="Wingdings" panose="05000000000000000000" pitchFamily="2" charset="2"/>
              <a:buChar char="§"/>
            </a:pPr>
            <a:r>
              <a:rPr lang="cs-CZ" sz="1600" dirty="0">
                <a:solidFill>
                  <a:srgbClr val="313537"/>
                </a:solidFill>
                <a:latin typeface="Hilti Brand"/>
              </a:rPr>
              <a:t>Kotevní hloubka je pevně dána pro většinu kotev</a:t>
            </a: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endParaRPr lang="cs-CZ" sz="1600" dirty="0">
              <a:solidFill>
                <a:srgbClr val="313537"/>
              </a:solidFill>
              <a:latin typeface="Hilti Brand"/>
            </a:endParaRP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r>
              <a:rPr lang="cs-CZ" sz="1600" dirty="0">
                <a:solidFill>
                  <a:srgbClr val="313537"/>
                </a:solidFill>
                <a:latin typeface="Hilti Brand"/>
              </a:rPr>
              <a:t>V porovnání s chemickými kotvami mají mechanické kotvy větší okrajové vzdálenosti a osové vzdálenosti </a:t>
            </a: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endParaRPr lang="cs-CZ" sz="1600" dirty="0">
              <a:solidFill>
                <a:srgbClr val="313537"/>
              </a:solidFill>
              <a:latin typeface="Hilti Brand"/>
            </a:endParaRP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r>
              <a:rPr lang="cs-CZ" sz="1600" dirty="0">
                <a:solidFill>
                  <a:srgbClr val="313537"/>
                </a:solidFill>
                <a:latin typeface="Hilti Brand"/>
              </a:rPr>
              <a:t>Kotevní otvor není vodotěsný</a:t>
            </a: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endParaRPr lang="cs-CZ" sz="1600" dirty="0">
              <a:solidFill>
                <a:srgbClr val="313537"/>
              </a:solidFill>
              <a:latin typeface="Hilti Brand"/>
            </a:endParaRPr>
          </a:p>
          <a:p>
            <a:pPr marL="285750" indent="-285750" algn="l" fontAlgn="auto">
              <a:buFont typeface="Wingdings" panose="05000000000000000000" pitchFamily="2" charset="2"/>
              <a:buChar char="§"/>
            </a:pPr>
            <a:r>
              <a:rPr lang="cs-CZ" sz="1600" b="0" i="0" u="none" baseline="0" dirty="0">
                <a:solidFill>
                  <a:srgbClr val="313537"/>
                </a:solidFill>
                <a:latin typeface="Hilti Brand"/>
              </a:rPr>
              <a:t>V</a:t>
            </a:r>
            <a:r>
              <a:rPr lang="cs-CZ" sz="1600" dirty="0">
                <a:solidFill>
                  <a:srgbClr val="313537"/>
                </a:solidFill>
                <a:latin typeface="Hilti Brand"/>
              </a:rPr>
              <a:t>yšší nároky na kvalitu betonu</a:t>
            </a:r>
            <a:endParaRPr lang="cs-CZ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78733FC0-7C0B-42CE-9537-3D14EDB2F4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18534" y="1493007"/>
            <a:ext cx="638095" cy="628571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E43A9F7B-0D30-468A-88FF-BEEAA5468C9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19425" y="1531102"/>
            <a:ext cx="733333" cy="59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129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205E3D-ACF2-40FD-A5D0-9F4E24436E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205E3D-ACF2-40FD-A5D0-9F4E24436E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3" name="Group 282">
            <a:extLst>
              <a:ext uri="{FF2B5EF4-FFF2-40B4-BE49-F238E27FC236}">
                <a16:creationId xmlns:a16="http://schemas.microsoft.com/office/drawing/2014/main" id="{C40A4AC5-93B5-4055-907E-FC159D3A8A28}"/>
              </a:ext>
            </a:extLst>
          </p:cNvPr>
          <p:cNvGrpSpPr/>
          <p:nvPr/>
        </p:nvGrpSpPr>
        <p:grpSpPr>
          <a:xfrm rot="4811570">
            <a:off x="3367684" y="206425"/>
            <a:ext cx="1776630" cy="6675236"/>
            <a:chOff x="967926" y="2831979"/>
            <a:chExt cx="941371" cy="3536962"/>
          </a:xfrm>
        </p:grpSpPr>
        <p:pic>
          <p:nvPicPr>
            <p:cNvPr id="284" name="Picture 283">
              <a:extLst>
                <a:ext uri="{FF2B5EF4-FFF2-40B4-BE49-F238E27FC236}">
                  <a16:creationId xmlns:a16="http://schemas.microsoft.com/office/drawing/2014/main" id="{018A93F3-EA99-4D06-9145-C1D16F15247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290608" y="4750252"/>
              <a:ext cx="2790843" cy="446535"/>
            </a:xfrm>
            <a:prstGeom prst="rect">
              <a:avLst/>
            </a:prstGeom>
          </p:spPr>
        </p:pic>
        <p:pic>
          <p:nvPicPr>
            <p:cNvPr id="285" name="Picture 284">
              <a:extLst>
                <a:ext uri="{FF2B5EF4-FFF2-40B4-BE49-F238E27FC236}">
                  <a16:creationId xmlns:a16="http://schemas.microsoft.com/office/drawing/2014/main" id="{65EB8D3D-1D1A-4450-B099-92B1C45045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9783" b="99457" l="727" r="90000">
                          <a14:foregroundMark x1="9818" y1="55435" x2="5636" y2="60326"/>
                          <a14:foregroundMark x1="818" y1="58696" x2="2727" y2="42935"/>
                          <a14:foregroundMark x1="74545" y1="41848" x2="75818" y2="28261"/>
                          <a14:foregroundMark x1="74000" y1="10870" x2="82091" y2="48913"/>
                          <a14:foregroundMark x1="72091" y1="82065" x2="73545" y2="99457"/>
                          <a14:foregroundMark x1="75455" y1="85870" x2="74000" y2="9945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7317"/>
            <a:stretch/>
          </p:blipFill>
          <p:spPr>
            <a:xfrm rot="16200000">
              <a:off x="-438026" y="4237931"/>
              <a:ext cx="3534705" cy="722802"/>
            </a:xfrm>
            <a:prstGeom prst="rect">
              <a:avLst/>
            </a:prstGeom>
          </p:spPr>
        </p:pic>
      </p:grp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4CC5B1-064A-4498-8BBE-3DB8B212260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00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30F415B-A023-4904-99F5-48B17B831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377741"/>
            <a:ext cx="11558605" cy="498244"/>
          </a:xfrm>
        </p:spPr>
        <p:txBody>
          <a:bodyPr vert="horz"/>
          <a:lstStyle/>
          <a:p>
            <a:r>
              <a:rPr lang="cs-CZ" sz="2400" u="sng" dirty="0">
                <a:solidFill>
                  <a:schemeClr val="tx1"/>
                </a:solidFill>
              </a:rPr>
              <a:t>HLAVNÍ SYSTÉMOVÉ VYLEPŠENÍ PŘINÁŠÍ KOMBINOVANÁ – HYBRIDNÍ KOTVA  HUS4-MAX:</a:t>
            </a:r>
            <a:endParaRPr lang="en-US" sz="2400" u="sng" dirty="0">
              <a:solidFill>
                <a:schemeClr val="tx1"/>
              </a:solidFill>
            </a:endParaRPr>
          </a:p>
        </p:txBody>
      </p:sp>
      <p:sp>
        <p:nvSpPr>
          <p:cNvPr id="25" name="Freeform 2">
            <a:extLst>
              <a:ext uri="{FF2B5EF4-FFF2-40B4-BE49-F238E27FC236}">
                <a16:creationId xmlns:a16="http://schemas.microsoft.com/office/drawing/2014/main" id="{8C605C97-2B0C-4DF0-87C4-0778D057228A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06341" y="2261079"/>
            <a:ext cx="1186251" cy="494551"/>
          </a:xfrm>
          <a:custGeom>
            <a:avLst/>
            <a:gdLst>
              <a:gd name="T0" fmla="*/ 0 w 4255"/>
              <a:gd name="T1" fmla="*/ 3992 h 3993"/>
              <a:gd name="T2" fmla="*/ 0 w 4255"/>
              <a:gd name="T3" fmla="*/ 3992 h 3993"/>
              <a:gd name="T4" fmla="*/ 0 w 4255"/>
              <a:gd name="T5" fmla="*/ 3992 h 3993"/>
              <a:gd name="T6" fmla="*/ 3984 w 4255"/>
              <a:gd name="T7" fmla="*/ 0 h 3993"/>
              <a:gd name="T8" fmla="*/ 4254 w 4255"/>
              <a:gd name="T9" fmla="*/ 0 h 39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55" h="3993">
                <a:moveTo>
                  <a:pt x="0" y="3992"/>
                </a:moveTo>
                <a:lnTo>
                  <a:pt x="0" y="3992"/>
                </a:lnTo>
                <a:lnTo>
                  <a:pt x="0" y="3992"/>
                </a:lnTo>
                <a:cubicBezTo>
                  <a:pt x="0" y="1790"/>
                  <a:pt x="1789" y="0"/>
                  <a:pt x="3984" y="0"/>
                </a:cubicBezTo>
                <a:cubicBezTo>
                  <a:pt x="4254" y="0"/>
                  <a:pt x="4254" y="0"/>
                  <a:pt x="4254" y="0"/>
                </a:cubicBezTo>
              </a:path>
            </a:pathLst>
          </a:custGeom>
          <a:noFill/>
          <a:ln w="63500" cap="flat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47">
            <a:extLst>
              <a:ext uri="{FF2B5EF4-FFF2-40B4-BE49-F238E27FC236}">
                <a16:creationId xmlns:a16="http://schemas.microsoft.com/office/drawing/2014/main" id="{9550F4F6-165F-45BC-ADFF-37D45FC8823F}"/>
              </a:ext>
            </a:extLst>
          </p:cNvPr>
          <p:cNvSpPr/>
          <p:nvPr/>
        </p:nvSpPr>
        <p:spPr bwMode="gray">
          <a:xfrm rot="10800000">
            <a:off x="9150074" y="1996165"/>
            <a:ext cx="739883" cy="739883"/>
          </a:xfrm>
          <a:prstGeom prst="rect">
            <a:avLst/>
          </a:prstGeom>
          <a:solidFill>
            <a:srgbClr val="FFFFFF"/>
          </a:solidFill>
          <a:ln w="63500" cap="flat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>
              <a:latin typeface="+mj-lt"/>
            </a:endParaRPr>
          </a:p>
        </p:txBody>
      </p:sp>
      <p:sp>
        <p:nvSpPr>
          <p:cNvPr id="29" name="Freeform 3">
            <a:extLst>
              <a:ext uri="{FF2B5EF4-FFF2-40B4-BE49-F238E27FC236}">
                <a16:creationId xmlns:a16="http://schemas.microsoft.com/office/drawing/2014/main" id="{696583E0-1013-468F-B2CF-F97A6AA30901}"/>
              </a:ext>
            </a:extLst>
          </p:cNvPr>
          <p:cNvSpPr>
            <a:spLocks noChangeArrowheads="1"/>
          </p:cNvSpPr>
          <p:nvPr/>
        </p:nvSpPr>
        <p:spPr bwMode="gray">
          <a:xfrm rot="20417535" flipV="1">
            <a:off x="5031718" y="4511314"/>
            <a:ext cx="894886" cy="696230"/>
          </a:xfrm>
          <a:custGeom>
            <a:avLst/>
            <a:gdLst>
              <a:gd name="T0" fmla="*/ 3580 w 3581"/>
              <a:gd name="T1" fmla="*/ 1923 h 1924"/>
              <a:gd name="T2" fmla="*/ 3580 w 3581"/>
              <a:gd name="T3" fmla="*/ 1923 h 1924"/>
              <a:gd name="T4" fmla="*/ 3580 w 3581"/>
              <a:gd name="T5" fmla="*/ 1923 h 1924"/>
              <a:gd name="T6" fmla="*/ 1655 w 3581"/>
              <a:gd name="T7" fmla="*/ 0 h 1924"/>
              <a:gd name="T8" fmla="*/ 0 w 3581"/>
              <a:gd name="T9" fmla="*/ 0 h 19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81" h="1924">
                <a:moveTo>
                  <a:pt x="3580" y="1923"/>
                </a:moveTo>
                <a:lnTo>
                  <a:pt x="3580" y="1923"/>
                </a:lnTo>
                <a:lnTo>
                  <a:pt x="3580" y="1923"/>
                </a:lnTo>
                <a:cubicBezTo>
                  <a:pt x="3580" y="853"/>
                  <a:pt x="2716" y="0"/>
                  <a:pt x="1655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63500" cap="flat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Rectangle 50">
            <a:extLst>
              <a:ext uri="{FF2B5EF4-FFF2-40B4-BE49-F238E27FC236}">
                <a16:creationId xmlns:a16="http://schemas.microsoft.com/office/drawing/2014/main" id="{54192A7A-92D1-4AC4-B26F-2177F19C636D}"/>
              </a:ext>
            </a:extLst>
          </p:cNvPr>
          <p:cNvSpPr/>
          <p:nvPr/>
        </p:nvSpPr>
        <p:spPr bwMode="gray">
          <a:xfrm rot="10800000">
            <a:off x="4474196" y="5011344"/>
            <a:ext cx="739883" cy="739883"/>
          </a:xfrm>
          <a:prstGeom prst="rect">
            <a:avLst/>
          </a:prstGeom>
          <a:solidFill>
            <a:srgbClr val="FFFFFF"/>
          </a:solidFill>
          <a:ln w="63500" cap="flat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1" name="Group 76">
            <a:extLst>
              <a:ext uri="{FF2B5EF4-FFF2-40B4-BE49-F238E27FC236}">
                <a16:creationId xmlns:a16="http://schemas.microsoft.com/office/drawing/2014/main" id="{256D795C-344F-4058-9AC3-2BD8C30D143F}"/>
              </a:ext>
            </a:extLst>
          </p:cNvPr>
          <p:cNvGrpSpPr/>
          <p:nvPr/>
        </p:nvGrpSpPr>
        <p:grpSpPr bwMode="gray">
          <a:xfrm>
            <a:off x="1610967" y="5030976"/>
            <a:ext cx="2756610" cy="945354"/>
            <a:chOff x="2317342" y="2491168"/>
            <a:chExt cx="2756610" cy="945354"/>
          </a:xfrm>
        </p:grpSpPr>
        <p:sp>
          <p:nvSpPr>
            <p:cNvPr id="32" name="TextBox 77">
              <a:extLst>
                <a:ext uri="{FF2B5EF4-FFF2-40B4-BE49-F238E27FC236}">
                  <a16:creationId xmlns:a16="http://schemas.microsoft.com/office/drawing/2014/main" id="{6E1194E4-0819-4C3D-A67E-AC19C2996326}"/>
                </a:ext>
              </a:extLst>
            </p:cNvPr>
            <p:cNvSpPr txBox="1"/>
            <p:nvPr/>
          </p:nvSpPr>
          <p:spPr bwMode="gray">
            <a:xfrm>
              <a:off x="2317342" y="2491168"/>
              <a:ext cx="2629784" cy="923330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r>
                <a:rPr lang="en-US" sz="1800" b="1" noProof="1"/>
                <a:t>HUS4-MAX </a:t>
              </a:r>
              <a:r>
                <a:rPr lang="cs-CZ" sz="1800" b="1" noProof="1"/>
                <a:t>– chemická patrona </a:t>
              </a:r>
            </a:p>
            <a:p>
              <a:r>
                <a:rPr lang="cs-CZ" sz="1800" b="1" noProof="1"/>
                <a:t>(dvousložkové lepidlo)</a:t>
              </a:r>
              <a:endParaRPr lang="en-US" sz="1800" b="1" noProof="1"/>
            </a:p>
          </p:txBody>
        </p:sp>
        <p:sp>
          <p:nvSpPr>
            <p:cNvPr id="33" name="TextBox 78">
              <a:extLst>
                <a:ext uri="{FF2B5EF4-FFF2-40B4-BE49-F238E27FC236}">
                  <a16:creationId xmlns:a16="http://schemas.microsoft.com/office/drawing/2014/main" id="{511058E4-0F2A-4522-8660-2856D546DBF1}"/>
                </a:ext>
              </a:extLst>
            </p:cNvPr>
            <p:cNvSpPr txBox="1"/>
            <p:nvPr/>
          </p:nvSpPr>
          <p:spPr bwMode="gray">
            <a:xfrm>
              <a:off x="2323026" y="3159523"/>
              <a:ext cx="2750926" cy="276999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endParaRPr lang="en-US" sz="1200" noProof="1"/>
            </a:p>
          </p:txBody>
        </p:sp>
      </p:grpSp>
      <p:sp>
        <p:nvSpPr>
          <p:cNvPr id="45" name="Freeform 3">
            <a:extLst>
              <a:ext uri="{FF2B5EF4-FFF2-40B4-BE49-F238E27FC236}">
                <a16:creationId xmlns:a16="http://schemas.microsoft.com/office/drawing/2014/main" id="{C32744DE-0B9B-4567-9F75-AEB632BB648E}"/>
              </a:ext>
            </a:extLst>
          </p:cNvPr>
          <p:cNvSpPr>
            <a:spLocks noChangeArrowheads="1"/>
          </p:cNvSpPr>
          <p:nvPr/>
        </p:nvSpPr>
        <p:spPr bwMode="gray">
          <a:xfrm>
            <a:off x="2578491" y="2418159"/>
            <a:ext cx="1266818" cy="680213"/>
          </a:xfrm>
          <a:custGeom>
            <a:avLst/>
            <a:gdLst>
              <a:gd name="T0" fmla="*/ 3580 w 3581"/>
              <a:gd name="T1" fmla="*/ 1923 h 1924"/>
              <a:gd name="T2" fmla="*/ 3580 w 3581"/>
              <a:gd name="T3" fmla="*/ 1923 h 1924"/>
              <a:gd name="T4" fmla="*/ 3580 w 3581"/>
              <a:gd name="T5" fmla="*/ 1923 h 1924"/>
              <a:gd name="T6" fmla="*/ 1655 w 3581"/>
              <a:gd name="T7" fmla="*/ 0 h 1924"/>
              <a:gd name="T8" fmla="*/ 0 w 3581"/>
              <a:gd name="T9" fmla="*/ 0 h 19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81" h="1924">
                <a:moveTo>
                  <a:pt x="3580" y="1923"/>
                </a:moveTo>
                <a:lnTo>
                  <a:pt x="3580" y="1923"/>
                </a:lnTo>
                <a:lnTo>
                  <a:pt x="3580" y="1923"/>
                </a:lnTo>
                <a:cubicBezTo>
                  <a:pt x="3580" y="853"/>
                  <a:pt x="2716" y="0"/>
                  <a:pt x="1655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63500" cap="flat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tangle 50">
            <a:extLst>
              <a:ext uri="{FF2B5EF4-FFF2-40B4-BE49-F238E27FC236}">
                <a16:creationId xmlns:a16="http://schemas.microsoft.com/office/drawing/2014/main" id="{64E230F0-2CB0-492B-A359-4D631A27DBE7}"/>
              </a:ext>
            </a:extLst>
          </p:cNvPr>
          <p:cNvSpPr/>
          <p:nvPr/>
        </p:nvSpPr>
        <p:spPr bwMode="gray">
          <a:xfrm rot="10800000">
            <a:off x="1924225" y="2340510"/>
            <a:ext cx="739883" cy="739883"/>
          </a:xfrm>
          <a:prstGeom prst="rect">
            <a:avLst/>
          </a:prstGeom>
          <a:solidFill>
            <a:srgbClr val="FFFFFF"/>
          </a:solidFill>
          <a:ln w="63500" cap="flat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6" name="Group 84">
            <a:extLst>
              <a:ext uri="{FF2B5EF4-FFF2-40B4-BE49-F238E27FC236}">
                <a16:creationId xmlns:a16="http://schemas.microsoft.com/office/drawing/2014/main" id="{9A980942-5A9C-456A-8369-EA5BC1A4B2E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161815" y="2522337"/>
            <a:ext cx="154690" cy="430743"/>
            <a:chOff x="1362" y="582"/>
            <a:chExt cx="246" cy="685"/>
          </a:xfrm>
          <a:solidFill>
            <a:schemeClr val="accent1"/>
          </a:solidFill>
        </p:grpSpPr>
        <p:sp>
          <p:nvSpPr>
            <p:cNvPr id="28" name="Freeform 85">
              <a:extLst>
                <a:ext uri="{FF2B5EF4-FFF2-40B4-BE49-F238E27FC236}">
                  <a16:creationId xmlns:a16="http://schemas.microsoft.com/office/drawing/2014/main" id="{73D49F26-EC3B-4739-AB5C-E20C81D4FA96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7" y="1263"/>
              <a:ext cx="6" cy="4"/>
            </a:xfrm>
            <a:custGeom>
              <a:avLst/>
              <a:gdLst>
                <a:gd name="T0" fmla="*/ 0 w 29"/>
                <a:gd name="T1" fmla="*/ 11 h 16"/>
                <a:gd name="T2" fmla="*/ 0 w 29"/>
                <a:gd name="T3" fmla="*/ 11 h 16"/>
                <a:gd name="T4" fmla="*/ 6 w 29"/>
                <a:gd name="T5" fmla="*/ 0 h 16"/>
                <a:gd name="T6" fmla="*/ 0 w 29"/>
                <a:gd name="T7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6">
                  <a:moveTo>
                    <a:pt x="0" y="11"/>
                  </a:moveTo>
                  <a:lnTo>
                    <a:pt x="0" y="11"/>
                  </a:lnTo>
                  <a:cubicBezTo>
                    <a:pt x="29" y="16"/>
                    <a:pt x="9" y="8"/>
                    <a:pt x="6" y="0"/>
                  </a:cubicBezTo>
                  <a:lnTo>
                    <a:pt x="0" y="1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86">
              <a:extLst>
                <a:ext uri="{FF2B5EF4-FFF2-40B4-BE49-F238E27FC236}">
                  <a16:creationId xmlns:a16="http://schemas.microsoft.com/office/drawing/2014/main" id="{F6591EC4-2FA9-4CFF-ACD7-FD587D97800C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8" y="1262"/>
              <a:ext cx="1" cy="1"/>
            </a:xfrm>
            <a:custGeom>
              <a:avLst/>
              <a:gdLst>
                <a:gd name="T0" fmla="*/ 2 w 5"/>
                <a:gd name="T1" fmla="*/ 7 h 7"/>
                <a:gd name="T2" fmla="*/ 2 w 5"/>
                <a:gd name="T3" fmla="*/ 7 h 7"/>
                <a:gd name="T4" fmla="*/ 5 w 5"/>
                <a:gd name="T5" fmla="*/ 0 h 7"/>
                <a:gd name="T6" fmla="*/ 2 w 5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7">
                  <a:moveTo>
                    <a:pt x="2" y="7"/>
                  </a:moveTo>
                  <a:lnTo>
                    <a:pt x="2" y="7"/>
                  </a:lnTo>
                  <a:lnTo>
                    <a:pt x="5" y="0"/>
                  </a:lnTo>
                  <a:cubicBezTo>
                    <a:pt x="1" y="2"/>
                    <a:pt x="0" y="5"/>
                    <a:pt x="2" y="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7">
              <a:extLst>
                <a:ext uri="{FF2B5EF4-FFF2-40B4-BE49-F238E27FC236}">
                  <a16:creationId xmlns:a16="http://schemas.microsoft.com/office/drawing/2014/main" id="{5348E2CD-F3E7-4FC6-A735-8128DF2DCA02}"/>
                </a:ext>
              </a:extLst>
            </p:cNvPr>
            <p:cNvSpPr>
              <a:spLocks/>
            </p:cNvSpPr>
            <p:nvPr/>
          </p:nvSpPr>
          <p:spPr bwMode="gray">
            <a:xfrm>
              <a:off x="1570" y="1250"/>
              <a:ext cx="11" cy="8"/>
            </a:xfrm>
            <a:custGeom>
              <a:avLst/>
              <a:gdLst>
                <a:gd name="T0" fmla="*/ 6 w 54"/>
                <a:gd name="T1" fmla="*/ 0 h 42"/>
                <a:gd name="T2" fmla="*/ 6 w 54"/>
                <a:gd name="T3" fmla="*/ 0 h 42"/>
                <a:gd name="T4" fmla="*/ 35 w 54"/>
                <a:gd name="T5" fmla="*/ 42 h 42"/>
                <a:gd name="T6" fmla="*/ 6 w 54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42">
                  <a:moveTo>
                    <a:pt x="6" y="0"/>
                  </a:moveTo>
                  <a:lnTo>
                    <a:pt x="6" y="0"/>
                  </a:lnTo>
                  <a:cubicBezTo>
                    <a:pt x="29" y="14"/>
                    <a:pt x="0" y="34"/>
                    <a:pt x="35" y="42"/>
                  </a:cubicBezTo>
                  <a:cubicBezTo>
                    <a:pt x="54" y="25"/>
                    <a:pt x="44" y="1"/>
                    <a:pt x="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88">
              <a:extLst>
                <a:ext uri="{FF2B5EF4-FFF2-40B4-BE49-F238E27FC236}">
                  <a16:creationId xmlns:a16="http://schemas.microsoft.com/office/drawing/2014/main" id="{5FDC5106-066A-469D-8E97-6CE7CF215C6F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5" y="1253"/>
              <a:ext cx="6" cy="2"/>
            </a:xfrm>
            <a:custGeom>
              <a:avLst/>
              <a:gdLst>
                <a:gd name="T0" fmla="*/ 11 w 30"/>
                <a:gd name="T1" fmla="*/ 11 h 12"/>
                <a:gd name="T2" fmla="*/ 11 w 30"/>
                <a:gd name="T3" fmla="*/ 11 h 12"/>
                <a:gd name="T4" fmla="*/ 30 w 30"/>
                <a:gd name="T5" fmla="*/ 12 h 12"/>
                <a:gd name="T6" fmla="*/ 0 w 30"/>
                <a:gd name="T7" fmla="*/ 0 h 12"/>
                <a:gd name="T8" fmla="*/ 11 w 30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2">
                  <a:moveTo>
                    <a:pt x="11" y="11"/>
                  </a:moveTo>
                  <a:lnTo>
                    <a:pt x="11" y="11"/>
                  </a:lnTo>
                  <a:lnTo>
                    <a:pt x="30" y="12"/>
                  </a:lnTo>
                  <a:lnTo>
                    <a:pt x="0" y="0"/>
                  </a:lnTo>
                  <a:lnTo>
                    <a:pt x="11" y="1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89">
              <a:extLst>
                <a:ext uri="{FF2B5EF4-FFF2-40B4-BE49-F238E27FC236}">
                  <a16:creationId xmlns:a16="http://schemas.microsoft.com/office/drawing/2014/main" id="{410B9C43-53E5-4613-ACF0-151BC07CE90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1" y="1253"/>
              <a:ext cx="4" cy="4"/>
            </a:xfrm>
            <a:custGeom>
              <a:avLst/>
              <a:gdLst>
                <a:gd name="T0" fmla="*/ 14 w 21"/>
                <a:gd name="T1" fmla="*/ 22 h 22"/>
                <a:gd name="T2" fmla="*/ 14 w 21"/>
                <a:gd name="T3" fmla="*/ 22 h 22"/>
                <a:gd name="T4" fmla="*/ 21 w 21"/>
                <a:gd name="T5" fmla="*/ 20 h 22"/>
                <a:gd name="T6" fmla="*/ 0 w 21"/>
                <a:gd name="T7" fmla="*/ 0 h 22"/>
                <a:gd name="T8" fmla="*/ 14 w 21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2">
                  <a:moveTo>
                    <a:pt x="14" y="22"/>
                  </a:moveTo>
                  <a:lnTo>
                    <a:pt x="14" y="22"/>
                  </a:lnTo>
                  <a:lnTo>
                    <a:pt x="21" y="20"/>
                  </a:lnTo>
                  <a:lnTo>
                    <a:pt x="0" y="0"/>
                  </a:lnTo>
                  <a:lnTo>
                    <a:pt x="14" y="2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90">
              <a:extLst>
                <a:ext uri="{FF2B5EF4-FFF2-40B4-BE49-F238E27FC236}">
                  <a16:creationId xmlns:a16="http://schemas.microsoft.com/office/drawing/2014/main" id="{1A9883EC-14F1-4D4C-86A6-4B8F114E82DE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5" y="1238"/>
              <a:ext cx="18" cy="11"/>
            </a:xfrm>
            <a:custGeom>
              <a:avLst/>
              <a:gdLst>
                <a:gd name="T0" fmla="*/ 45 w 93"/>
                <a:gd name="T1" fmla="*/ 11 h 58"/>
                <a:gd name="T2" fmla="*/ 45 w 93"/>
                <a:gd name="T3" fmla="*/ 11 h 58"/>
                <a:gd name="T4" fmla="*/ 51 w 93"/>
                <a:gd name="T5" fmla="*/ 27 h 58"/>
                <a:gd name="T6" fmla="*/ 0 w 93"/>
                <a:gd name="T7" fmla="*/ 30 h 58"/>
                <a:gd name="T8" fmla="*/ 47 w 93"/>
                <a:gd name="T9" fmla="*/ 58 h 58"/>
                <a:gd name="T10" fmla="*/ 82 w 93"/>
                <a:gd name="T11" fmla="*/ 21 h 58"/>
                <a:gd name="T12" fmla="*/ 45 w 93"/>
                <a:gd name="T13" fmla="*/ 1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58">
                  <a:moveTo>
                    <a:pt x="45" y="11"/>
                  </a:moveTo>
                  <a:lnTo>
                    <a:pt x="45" y="11"/>
                  </a:lnTo>
                  <a:lnTo>
                    <a:pt x="51" y="27"/>
                  </a:lnTo>
                  <a:cubicBezTo>
                    <a:pt x="27" y="43"/>
                    <a:pt x="17" y="19"/>
                    <a:pt x="0" y="30"/>
                  </a:cubicBezTo>
                  <a:cubicBezTo>
                    <a:pt x="1" y="49"/>
                    <a:pt x="54" y="33"/>
                    <a:pt x="47" y="58"/>
                  </a:cubicBezTo>
                  <a:cubicBezTo>
                    <a:pt x="71" y="55"/>
                    <a:pt x="44" y="19"/>
                    <a:pt x="82" y="21"/>
                  </a:cubicBezTo>
                  <a:cubicBezTo>
                    <a:pt x="93" y="0"/>
                    <a:pt x="60" y="21"/>
                    <a:pt x="45" y="1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91">
              <a:extLst>
                <a:ext uri="{FF2B5EF4-FFF2-40B4-BE49-F238E27FC236}">
                  <a16:creationId xmlns:a16="http://schemas.microsoft.com/office/drawing/2014/main" id="{14162FFD-768C-47D8-A31E-CCAA51A05D36}"/>
                </a:ext>
              </a:extLst>
            </p:cNvPr>
            <p:cNvSpPr>
              <a:spLocks/>
            </p:cNvSpPr>
            <p:nvPr/>
          </p:nvSpPr>
          <p:spPr bwMode="gray">
            <a:xfrm>
              <a:off x="1525" y="1059"/>
              <a:ext cx="2" cy="0"/>
            </a:xfrm>
            <a:custGeom>
              <a:avLst/>
              <a:gdLst>
                <a:gd name="T0" fmla="*/ 4 w 7"/>
                <a:gd name="T1" fmla="*/ 2 h 2"/>
                <a:gd name="T2" fmla="*/ 4 w 7"/>
                <a:gd name="T3" fmla="*/ 2 h 2"/>
                <a:gd name="T4" fmla="*/ 7 w 7"/>
                <a:gd name="T5" fmla="*/ 0 h 2"/>
                <a:gd name="T6" fmla="*/ 4 w 7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">
                  <a:moveTo>
                    <a:pt x="4" y="2"/>
                  </a:moveTo>
                  <a:lnTo>
                    <a:pt x="4" y="2"/>
                  </a:lnTo>
                  <a:cubicBezTo>
                    <a:pt x="5" y="1"/>
                    <a:pt x="6" y="1"/>
                    <a:pt x="7" y="0"/>
                  </a:cubicBezTo>
                  <a:cubicBezTo>
                    <a:pt x="3" y="1"/>
                    <a:pt x="0" y="2"/>
                    <a:pt x="4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92">
              <a:extLst>
                <a:ext uri="{FF2B5EF4-FFF2-40B4-BE49-F238E27FC236}">
                  <a16:creationId xmlns:a16="http://schemas.microsoft.com/office/drawing/2014/main" id="{81EA5D34-CC09-4E71-A4A7-C03FC9F27C1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20" y="1007"/>
              <a:ext cx="2" cy="2"/>
            </a:xfrm>
            <a:custGeom>
              <a:avLst/>
              <a:gdLst>
                <a:gd name="T0" fmla="*/ 3 w 10"/>
                <a:gd name="T1" fmla="*/ 10 h 10"/>
                <a:gd name="T2" fmla="*/ 3 w 10"/>
                <a:gd name="T3" fmla="*/ 10 h 10"/>
                <a:gd name="T4" fmla="*/ 10 w 10"/>
                <a:gd name="T5" fmla="*/ 0 h 10"/>
                <a:gd name="T6" fmla="*/ 0 w 10"/>
                <a:gd name="T7" fmla="*/ 4 h 10"/>
                <a:gd name="T8" fmla="*/ 3 w 10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3" y="10"/>
                  </a:moveTo>
                  <a:lnTo>
                    <a:pt x="3" y="10"/>
                  </a:lnTo>
                  <a:cubicBezTo>
                    <a:pt x="6" y="7"/>
                    <a:pt x="9" y="3"/>
                    <a:pt x="10" y="0"/>
                  </a:cubicBezTo>
                  <a:cubicBezTo>
                    <a:pt x="6" y="1"/>
                    <a:pt x="3" y="2"/>
                    <a:pt x="0" y="4"/>
                  </a:cubicBezTo>
                  <a:lnTo>
                    <a:pt x="3" y="1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93">
              <a:extLst>
                <a:ext uri="{FF2B5EF4-FFF2-40B4-BE49-F238E27FC236}">
                  <a16:creationId xmlns:a16="http://schemas.microsoft.com/office/drawing/2014/main" id="{C910CFB9-95C7-47FB-9513-7B18CD36C5B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9" y="1090"/>
              <a:ext cx="2" cy="2"/>
            </a:xfrm>
            <a:custGeom>
              <a:avLst/>
              <a:gdLst>
                <a:gd name="T0" fmla="*/ 9 w 9"/>
                <a:gd name="T1" fmla="*/ 0 h 11"/>
                <a:gd name="T2" fmla="*/ 9 w 9"/>
                <a:gd name="T3" fmla="*/ 0 h 11"/>
                <a:gd name="T4" fmla="*/ 0 w 9"/>
                <a:gd name="T5" fmla="*/ 11 h 11"/>
                <a:gd name="T6" fmla="*/ 9 w 9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1">
                  <a:moveTo>
                    <a:pt x="9" y="0"/>
                  </a:moveTo>
                  <a:lnTo>
                    <a:pt x="9" y="0"/>
                  </a:lnTo>
                  <a:cubicBezTo>
                    <a:pt x="5" y="4"/>
                    <a:pt x="2" y="8"/>
                    <a:pt x="0" y="11"/>
                  </a:cubicBezTo>
                  <a:cubicBezTo>
                    <a:pt x="5" y="9"/>
                    <a:pt x="9" y="6"/>
                    <a:pt x="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94">
              <a:extLst>
                <a:ext uri="{FF2B5EF4-FFF2-40B4-BE49-F238E27FC236}">
                  <a16:creationId xmlns:a16="http://schemas.microsoft.com/office/drawing/2014/main" id="{692621C1-57A0-4288-B8AF-38E3CF5FEF16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9" y="773"/>
              <a:ext cx="2" cy="1"/>
            </a:xfrm>
            <a:custGeom>
              <a:avLst/>
              <a:gdLst>
                <a:gd name="T0" fmla="*/ 0 w 12"/>
                <a:gd name="T1" fmla="*/ 2 h 4"/>
                <a:gd name="T2" fmla="*/ 0 w 12"/>
                <a:gd name="T3" fmla="*/ 2 h 4"/>
                <a:gd name="T4" fmla="*/ 11 w 12"/>
                <a:gd name="T5" fmla="*/ 4 h 4"/>
                <a:gd name="T6" fmla="*/ 12 w 12"/>
                <a:gd name="T7" fmla="*/ 3 h 4"/>
                <a:gd name="T8" fmla="*/ 2 w 12"/>
                <a:gd name="T9" fmla="*/ 0 h 4"/>
                <a:gd name="T10" fmla="*/ 0 w 12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0" y="2"/>
                  </a:moveTo>
                  <a:lnTo>
                    <a:pt x="0" y="2"/>
                  </a:lnTo>
                  <a:cubicBezTo>
                    <a:pt x="3" y="3"/>
                    <a:pt x="6" y="3"/>
                    <a:pt x="11" y="4"/>
                  </a:cubicBezTo>
                  <a:cubicBezTo>
                    <a:pt x="11" y="4"/>
                    <a:pt x="12" y="3"/>
                    <a:pt x="12" y="3"/>
                  </a:cubicBez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95">
              <a:extLst>
                <a:ext uri="{FF2B5EF4-FFF2-40B4-BE49-F238E27FC236}">
                  <a16:creationId xmlns:a16="http://schemas.microsoft.com/office/drawing/2014/main" id="{11C01FFF-CE3C-4286-86D9-51FECFA056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508" y="951"/>
              <a:ext cx="0" cy="2"/>
            </a:xfrm>
            <a:custGeom>
              <a:avLst/>
              <a:gdLst>
                <a:gd name="T0" fmla="*/ 4 w 4"/>
                <a:gd name="T1" fmla="*/ 12 h 12"/>
                <a:gd name="T2" fmla="*/ 4 w 4"/>
                <a:gd name="T3" fmla="*/ 12 h 12"/>
                <a:gd name="T4" fmla="*/ 0 w 4"/>
                <a:gd name="T5" fmla="*/ 0 h 12"/>
                <a:gd name="T6" fmla="*/ 4 w 4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2">
                  <a:moveTo>
                    <a:pt x="4" y="12"/>
                  </a:moveTo>
                  <a:lnTo>
                    <a:pt x="4" y="12"/>
                  </a:lnTo>
                  <a:cubicBezTo>
                    <a:pt x="4" y="8"/>
                    <a:pt x="3" y="4"/>
                    <a:pt x="0" y="0"/>
                  </a:cubicBezTo>
                  <a:cubicBezTo>
                    <a:pt x="0" y="7"/>
                    <a:pt x="1" y="10"/>
                    <a:pt x="4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96">
              <a:extLst>
                <a:ext uri="{FF2B5EF4-FFF2-40B4-BE49-F238E27FC236}">
                  <a16:creationId xmlns:a16="http://schemas.microsoft.com/office/drawing/2014/main" id="{439F78AB-284B-43FD-85E3-76037092E57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41" y="1108"/>
              <a:ext cx="1" cy="1"/>
            </a:xfrm>
            <a:custGeom>
              <a:avLst/>
              <a:gdLst>
                <a:gd name="T0" fmla="*/ 3 w 4"/>
                <a:gd name="T1" fmla="*/ 3 h 5"/>
                <a:gd name="T2" fmla="*/ 3 w 4"/>
                <a:gd name="T3" fmla="*/ 3 h 5"/>
                <a:gd name="T4" fmla="*/ 4 w 4"/>
                <a:gd name="T5" fmla="*/ 0 h 5"/>
                <a:gd name="T6" fmla="*/ 0 w 4"/>
                <a:gd name="T7" fmla="*/ 5 h 5"/>
                <a:gd name="T8" fmla="*/ 3 w 4"/>
                <a:gd name="T9" fmla="*/ 4 h 5"/>
                <a:gd name="T10" fmla="*/ 3 w 4"/>
                <a:gd name="T11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5">
                  <a:moveTo>
                    <a:pt x="3" y="3"/>
                  </a:moveTo>
                  <a:lnTo>
                    <a:pt x="3" y="3"/>
                  </a:lnTo>
                  <a:cubicBezTo>
                    <a:pt x="4" y="2"/>
                    <a:pt x="4" y="1"/>
                    <a:pt x="4" y="0"/>
                  </a:cubicBezTo>
                  <a:cubicBezTo>
                    <a:pt x="2" y="1"/>
                    <a:pt x="1" y="3"/>
                    <a:pt x="0" y="5"/>
                  </a:cubicBezTo>
                  <a:lnTo>
                    <a:pt x="3" y="4"/>
                  </a:lnTo>
                  <a:cubicBezTo>
                    <a:pt x="3" y="4"/>
                    <a:pt x="3" y="4"/>
                    <a:pt x="3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97">
              <a:extLst>
                <a:ext uri="{FF2B5EF4-FFF2-40B4-BE49-F238E27FC236}">
                  <a16:creationId xmlns:a16="http://schemas.microsoft.com/office/drawing/2014/main" id="{696A81DA-2216-414E-85E2-D84F77946C0C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1" y="1024"/>
              <a:ext cx="0" cy="2"/>
            </a:xfrm>
            <a:custGeom>
              <a:avLst/>
              <a:gdLst>
                <a:gd name="T0" fmla="*/ 0 w 4"/>
                <a:gd name="T1" fmla="*/ 10 h 10"/>
                <a:gd name="T2" fmla="*/ 0 w 4"/>
                <a:gd name="T3" fmla="*/ 10 h 10"/>
                <a:gd name="T4" fmla="*/ 4 w 4"/>
                <a:gd name="T5" fmla="*/ 0 h 10"/>
                <a:gd name="T6" fmla="*/ 0 w 4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0" y="10"/>
                  </a:moveTo>
                  <a:lnTo>
                    <a:pt x="0" y="10"/>
                  </a:lnTo>
                  <a:cubicBezTo>
                    <a:pt x="2" y="6"/>
                    <a:pt x="4" y="3"/>
                    <a:pt x="4" y="0"/>
                  </a:cubicBezTo>
                  <a:cubicBezTo>
                    <a:pt x="1" y="4"/>
                    <a:pt x="0" y="7"/>
                    <a:pt x="0" y="1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98">
              <a:extLst>
                <a:ext uri="{FF2B5EF4-FFF2-40B4-BE49-F238E27FC236}">
                  <a16:creationId xmlns:a16="http://schemas.microsoft.com/office/drawing/2014/main" id="{6096F9C2-DAB3-4B0E-9B89-FBC1A29C804C}"/>
                </a:ext>
              </a:extLst>
            </p:cNvPr>
            <p:cNvSpPr>
              <a:spLocks/>
            </p:cNvSpPr>
            <p:nvPr/>
          </p:nvSpPr>
          <p:spPr bwMode="gray">
            <a:xfrm>
              <a:off x="1577" y="1191"/>
              <a:ext cx="2" cy="2"/>
            </a:xfrm>
            <a:custGeom>
              <a:avLst/>
              <a:gdLst>
                <a:gd name="T0" fmla="*/ 10 w 13"/>
                <a:gd name="T1" fmla="*/ 11 h 11"/>
                <a:gd name="T2" fmla="*/ 10 w 13"/>
                <a:gd name="T3" fmla="*/ 11 h 11"/>
                <a:gd name="T4" fmla="*/ 6 w 13"/>
                <a:gd name="T5" fmla="*/ 0 h 11"/>
                <a:gd name="T6" fmla="*/ 10 w 13"/>
                <a:gd name="T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10" y="11"/>
                  </a:moveTo>
                  <a:lnTo>
                    <a:pt x="10" y="11"/>
                  </a:lnTo>
                  <a:cubicBezTo>
                    <a:pt x="13" y="7"/>
                    <a:pt x="11" y="3"/>
                    <a:pt x="6" y="0"/>
                  </a:cubicBezTo>
                  <a:cubicBezTo>
                    <a:pt x="1" y="3"/>
                    <a:pt x="0" y="7"/>
                    <a:pt x="10" y="1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99">
              <a:extLst>
                <a:ext uri="{FF2B5EF4-FFF2-40B4-BE49-F238E27FC236}">
                  <a16:creationId xmlns:a16="http://schemas.microsoft.com/office/drawing/2014/main" id="{E0BBF9A3-659B-4EEF-B525-FED253ACA34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77" y="1176"/>
              <a:ext cx="1" cy="0"/>
            </a:xfrm>
            <a:custGeom>
              <a:avLst/>
              <a:gdLst>
                <a:gd name="T0" fmla="*/ 0 w 5"/>
                <a:gd name="T1" fmla="*/ 1 h 1"/>
                <a:gd name="T2" fmla="*/ 0 w 5"/>
                <a:gd name="T3" fmla="*/ 1 h 1"/>
                <a:gd name="T4" fmla="*/ 0 w 5"/>
                <a:gd name="T5" fmla="*/ 1 h 1"/>
                <a:gd name="T6" fmla="*/ 0 w 5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">
                  <a:moveTo>
                    <a:pt x="0" y="1"/>
                  </a:move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ubicBezTo>
                    <a:pt x="5" y="0"/>
                    <a:pt x="4" y="0"/>
                    <a:pt x="0" y="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00">
              <a:extLst>
                <a:ext uri="{FF2B5EF4-FFF2-40B4-BE49-F238E27FC236}">
                  <a16:creationId xmlns:a16="http://schemas.microsoft.com/office/drawing/2014/main" id="{6DA8C2C3-1026-44BC-A1FD-ECEDAA829ED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78" y="1164"/>
              <a:ext cx="1" cy="1"/>
            </a:xfrm>
            <a:custGeom>
              <a:avLst/>
              <a:gdLst>
                <a:gd name="T0" fmla="*/ 0 w 5"/>
                <a:gd name="T1" fmla="*/ 0 h 1"/>
                <a:gd name="T2" fmla="*/ 0 w 5"/>
                <a:gd name="T3" fmla="*/ 0 h 1"/>
                <a:gd name="T4" fmla="*/ 1 w 5"/>
                <a:gd name="T5" fmla="*/ 1 h 1"/>
                <a:gd name="T6" fmla="*/ 0 w 5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1"/>
                    <a:pt x="1" y="1"/>
                  </a:cubicBezTo>
                  <a:cubicBezTo>
                    <a:pt x="4" y="0"/>
                    <a:pt x="5" y="0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101">
              <a:extLst>
                <a:ext uri="{FF2B5EF4-FFF2-40B4-BE49-F238E27FC236}">
                  <a16:creationId xmlns:a16="http://schemas.microsoft.com/office/drawing/2014/main" id="{3E5705B9-1632-4245-9F85-AE79FEF8538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71" y="1184"/>
              <a:ext cx="19" cy="7"/>
            </a:xfrm>
            <a:custGeom>
              <a:avLst/>
              <a:gdLst>
                <a:gd name="T0" fmla="*/ 37 w 100"/>
                <a:gd name="T1" fmla="*/ 39 h 39"/>
                <a:gd name="T2" fmla="*/ 37 w 100"/>
                <a:gd name="T3" fmla="*/ 39 h 39"/>
                <a:gd name="T4" fmla="*/ 46 w 100"/>
                <a:gd name="T5" fmla="*/ 19 h 39"/>
                <a:gd name="T6" fmla="*/ 40 w 100"/>
                <a:gd name="T7" fmla="*/ 21 h 39"/>
                <a:gd name="T8" fmla="*/ 28 w 100"/>
                <a:gd name="T9" fmla="*/ 0 h 39"/>
                <a:gd name="T10" fmla="*/ 15 w 100"/>
                <a:gd name="T11" fmla="*/ 3 h 39"/>
                <a:gd name="T12" fmla="*/ 11 w 100"/>
                <a:gd name="T13" fmla="*/ 19 h 39"/>
                <a:gd name="T14" fmla="*/ 37 w 100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39">
                  <a:moveTo>
                    <a:pt x="37" y="39"/>
                  </a:moveTo>
                  <a:lnTo>
                    <a:pt x="37" y="39"/>
                  </a:lnTo>
                  <a:cubicBezTo>
                    <a:pt x="52" y="31"/>
                    <a:pt x="100" y="26"/>
                    <a:pt x="46" y="19"/>
                  </a:cubicBezTo>
                  <a:lnTo>
                    <a:pt x="40" y="21"/>
                  </a:lnTo>
                  <a:cubicBezTo>
                    <a:pt x="51" y="15"/>
                    <a:pt x="30" y="7"/>
                    <a:pt x="28" y="0"/>
                  </a:cubicBezTo>
                  <a:cubicBezTo>
                    <a:pt x="23" y="1"/>
                    <a:pt x="19" y="2"/>
                    <a:pt x="15" y="3"/>
                  </a:cubicBezTo>
                  <a:cubicBezTo>
                    <a:pt x="15" y="7"/>
                    <a:pt x="14" y="11"/>
                    <a:pt x="11" y="19"/>
                  </a:cubicBezTo>
                  <a:cubicBezTo>
                    <a:pt x="0" y="27"/>
                    <a:pt x="26" y="32"/>
                    <a:pt x="37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102">
              <a:extLst>
                <a:ext uri="{FF2B5EF4-FFF2-40B4-BE49-F238E27FC236}">
                  <a16:creationId xmlns:a16="http://schemas.microsoft.com/office/drawing/2014/main" id="{20646F79-826F-4263-B0D4-808F00A5BEC4}"/>
                </a:ext>
              </a:extLst>
            </p:cNvPr>
            <p:cNvSpPr>
              <a:spLocks/>
            </p:cNvSpPr>
            <p:nvPr/>
          </p:nvSpPr>
          <p:spPr bwMode="gray">
            <a:xfrm>
              <a:off x="1526" y="1060"/>
              <a:ext cx="2" cy="1"/>
            </a:xfrm>
            <a:custGeom>
              <a:avLst/>
              <a:gdLst>
                <a:gd name="T0" fmla="*/ 9 w 9"/>
                <a:gd name="T1" fmla="*/ 0 h 7"/>
                <a:gd name="T2" fmla="*/ 9 w 9"/>
                <a:gd name="T3" fmla="*/ 0 h 7"/>
                <a:gd name="T4" fmla="*/ 9 w 9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9" y="0"/>
                  </a:moveTo>
                  <a:lnTo>
                    <a:pt x="9" y="0"/>
                  </a:lnTo>
                  <a:cubicBezTo>
                    <a:pt x="0" y="1"/>
                    <a:pt x="5" y="7"/>
                    <a:pt x="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103">
              <a:extLst>
                <a:ext uri="{FF2B5EF4-FFF2-40B4-BE49-F238E27FC236}">
                  <a16:creationId xmlns:a16="http://schemas.microsoft.com/office/drawing/2014/main" id="{FB19DAAD-EFE7-4946-ABA0-0CBB00534550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6" y="1073"/>
              <a:ext cx="0" cy="2"/>
            </a:xfrm>
            <a:custGeom>
              <a:avLst/>
              <a:gdLst>
                <a:gd name="T0" fmla="*/ 3 w 4"/>
                <a:gd name="T1" fmla="*/ 8 h 8"/>
                <a:gd name="T2" fmla="*/ 3 w 4"/>
                <a:gd name="T3" fmla="*/ 8 h 8"/>
                <a:gd name="T4" fmla="*/ 4 w 4"/>
                <a:gd name="T5" fmla="*/ 0 h 8"/>
                <a:gd name="T6" fmla="*/ 3 w 4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3" y="8"/>
                  </a:moveTo>
                  <a:lnTo>
                    <a:pt x="3" y="8"/>
                  </a:lnTo>
                  <a:cubicBezTo>
                    <a:pt x="3" y="5"/>
                    <a:pt x="4" y="3"/>
                    <a:pt x="4" y="0"/>
                  </a:cubicBezTo>
                  <a:cubicBezTo>
                    <a:pt x="2" y="2"/>
                    <a:pt x="0" y="5"/>
                    <a:pt x="3" y="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104">
              <a:extLst>
                <a:ext uri="{FF2B5EF4-FFF2-40B4-BE49-F238E27FC236}">
                  <a16:creationId xmlns:a16="http://schemas.microsoft.com/office/drawing/2014/main" id="{B1EB2521-C86B-4784-9631-F3A4029FFF7C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5" y="1133"/>
              <a:ext cx="1" cy="0"/>
            </a:xfrm>
            <a:custGeom>
              <a:avLst/>
              <a:gdLst>
                <a:gd name="T0" fmla="*/ 3 w 5"/>
                <a:gd name="T1" fmla="*/ 2 h 2"/>
                <a:gd name="T2" fmla="*/ 3 w 5"/>
                <a:gd name="T3" fmla="*/ 2 h 2"/>
                <a:gd name="T4" fmla="*/ 5 w 5"/>
                <a:gd name="T5" fmla="*/ 0 h 2"/>
                <a:gd name="T6" fmla="*/ 3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3" y="2"/>
                  </a:moveTo>
                  <a:lnTo>
                    <a:pt x="3" y="2"/>
                  </a:lnTo>
                  <a:cubicBezTo>
                    <a:pt x="4" y="1"/>
                    <a:pt x="5" y="1"/>
                    <a:pt x="5" y="0"/>
                  </a:cubicBezTo>
                  <a:cubicBezTo>
                    <a:pt x="0" y="0"/>
                    <a:pt x="1" y="1"/>
                    <a:pt x="3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05">
              <a:extLst>
                <a:ext uri="{FF2B5EF4-FFF2-40B4-BE49-F238E27FC236}">
                  <a16:creationId xmlns:a16="http://schemas.microsoft.com/office/drawing/2014/main" id="{3DA5047E-036E-4680-BEA3-A1F0CA69AD6B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6" y="1072"/>
              <a:ext cx="1" cy="1"/>
            </a:xfrm>
            <a:custGeom>
              <a:avLst/>
              <a:gdLst>
                <a:gd name="T0" fmla="*/ 0 w 3"/>
                <a:gd name="T1" fmla="*/ 0 h 7"/>
                <a:gd name="T2" fmla="*/ 0 w 3"/>
                <a:gd name="T3" fmla="*/ 0 h 7"/>
                <a:gd name="T4" fmla="*/ 0 w 3"/>
                <a:gd name="T5" fmla="*/ 7 h 7"/>
                <a:gd name="T6" fmla="*/ 0 w 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lnTo>
                    <a:pt x="0" y="0"/>
                  </a:lnTo>
                  <a:cubicBezTo>
                    <a:pt x="1" y="2"/>
                    <a:pt x="0" y="5"/>
                    <a:pt x="0" y="7"/>
                  </a:cubicBezTo>
                  <a:cubicBezTo>
                    <a:pt x="2" y="5"/>
                    <a:pt x="3" y="2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06">
              <a:extLst>
                <a:ext uri="{FF2B5EF4-FFF2-40B4-BE49-F238E27FC236}">
                  <a16:creationId xmlns:a16="http://schemas.microsoft.com/office/drawing/2014/main" id="{7783D3C2-3FEE-470D-9A3B-8B3B657FE730}"/>
                </a:ext>
              </a:extLst>
            </p:cNvPr>
            <p:cNvSpPr>
              <a:spLocks/>
            </p:cNvSpPr>
            <p:nvPr/>
          </p:nvSpPr>
          <p:spPr bwMode="gray">
            <a:xfrm>
              <a:off x="1540" y="1115"/>
              <a:ext cx="0" cy="0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lnTo>
                    <a:pt x="0" y="1"/>
                  </a:lnTo>
                  <a:cubicBezTo>
                    <a:pt x="0" y="1"/>
                    <a:pt x="1" y="1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07">
              <a:extLst>
                <a:ext uri="{FF2B5EF4-FFF2-40B4-BE49-F238E27FC236}">
                  <a16:creationId xmlns:a16="http://schemas.microsoft.com/office/drawing/2014/main" id="{2C64F483-6662-4B57-9D84-6DC93F03DFA9}"/>
                </a:ext>
              </a:extLst>
            </p:cNvPr>
            <p:cNvSpPr>
              <a:spLocks/>
            </p:cNvSpPr>
            <p:nvPr/>
          </p:nvSpPr>
          <p:spPr bwMode="gray">
            <a:xfrm>
              <a:off x="1453" y="607"/>
              <a:ext cx="6" cy="10"/>
            </a:xfrm>
            <a:custGeom>
              <a:avLst/>
              <a:gdLst>
                <a:gd name="T0" fmla="*/ 10 w 30"/>
                <a:gd name="T1" fmla="*/ 33 h 53"/>
                <a:gd name="T2" fmla="*/ 10 w 30"/>
                <a:gd name="T3" fmla="*/ 33 h 53"/>
                <a:gd name="T4" fmla="*/ 30 w 30"/>
                <a:gd name="T5" fmla="*/ 37 h 53"/>
                <a:gd name="T6" fmla="*/ 8 w 30"/>
                <a:gd name="T7" fmla="*/ 13 h 53"/>
                <a:gd name="T8" fmla="*/ 0 w 30"/>
                <a:gd name="T9" fmla="*/ 29 h 53"/>
                <a:gd name="T10" fmla="*/ 23 w 30"/>
                <a:gd name="T11" fmla="*/ 53 h 53"/>
                <a:gd name="T12" fmla="*/ 10 w 30"/>
                <a:gd name="T13" fmla="*/ 3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3">
                  <a:moveTo>
                    <a:pt x="10" y="33"/>
                  </a:moveTo>
                  <a:lnTo>
                    <a:pt x="10" y="33"/>
                  </a:lnTo>
                  <a:cubicBezTo>
                    <a:pt x="13" y="26"/>
                    <a:pt x="23" y="36"/>
                    <a:pt x="30" y="37"/>
                  </a:cubicBezTo>
                  <a:cubicBezTo>
                    <a:pt x="24" y="0"/>
                    <a:pt x="7" y="49"/>
                    <a:pt x="8" y="13"/>
                  </a:cubicBezTo>
                  <a:cubicBezTo>
                    <a:pt x="3" y="16"/>
                    <a:pt x="1" y="22"/>
                    <a:pt x="0" y="29"/>
                  </a:cubicBezTo>
                  <a:lnTo>
                    <a:pt x="23" y="53"/>
                  </a:lnTo>
                  <a:cubicBezTo>
                    <a:pt x="27" y="37"/>
                    <a:pt x="11" y="47"/>
                    <a:pt x="10" y="3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108">
              <a:extLst>
                <a:ext uri="{FF2B5EF4-FFF2-40B4-BE49-F238E27FC236}">
                  <a16:creationId xmlns:a16="http://schemas.microsoft.com/office/drawing/2014/main" id="{381C33EB-EF35-42B4-81D3-0AA75AD5622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71" y="755"/>
              <a:ext cx="17" cy="5"/>
            </a:xfrm>
            <a:custGeom>
              <a:avLst/>
              <a:gdLst>
                <a:gd name="T0" fmla="*/ 59 w 84"/>
                <a:gd name="T1" fmla="*/ 20 h 23"/>
                <a:gd name="T2" fmla="*/ 59 w 84"/>
                <a:gd name="T3" fmla="*/ 20 h 23"/>
                <a:gd name="T4" fmla="*/ 56 w 84"/>
                <a:gd name="T5" fmla="*/ 23 h 23"/>
                <a:gd name="T6" fmla="*/ 84 w 84"/>
                <a:gd name="T7" fmla="*/ 14 h 23"/>
                <a:gd name="T8" fmla="*/ 2 w 84"/>
                <a:gd name="T9" fmla="*/ 0 h 23"/>
                <a:gd name="T10" fmla="*/ 0 w 84"/>
                <a:gd name="T11" fmla="*/ 11 h 23"/>
                <a:gd name="T12" fmla="*/ 59 w 84"/>
                <a:gd name="T13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23">
                  <a:moveTo>
                    <a:pt x="59" y="20"/>
                  </a:moveTo>
                  <a:lnTo>
                    <a:pt x="59" y="20"/>
                  </a:lnTo>
                  <a:lnTo>
                    <a:pt x="56" y="23"/>
                  </a:lnTo>
                  <a:cubicBezTo>
                    <a:pt x="71" y="22"/>
                    <a:pt x="75" y="23"/>
                    <a:pt x="84" y="14"/>
                  </a:cubicBezTo>
                  <a:cubicBezTo>
                    <a:pt x="61" y="5"/>
                    <a:pt x="26" y="16"/>
                    <a:pt x="2" y="0"/>
                  </a:cubicBezTo>
                  <a:cubicBezTo>
                    <a:pt x="4" y="3"/>
                    <a:pt x="3" y="8"/>
                    <a:pt x="0" y="11"/>
                  </a:cubicBezTo>
                  <a:cubicBezTo>
                    <a:pt x="20" y="6"/>
                    <a:pt x="41" y="13"/>
                    <a:pt x="59" y="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109">
              <a:extLst>
                <a:ext uri="{FF2B5EF4-FFF2-40B4-BE49-F238E27FC236}">
                  <a16:creationId xmlns:a16="http://schemas.microsoft.com/office/drawing/2014/main" id="{07B74BA5-8D23-4305-8039-FD3264497C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9" y="758"/>
              <a:ext cx="2" cy="1"/>
            </a:xfrm>
            <a:custGeom>
              <a:avLst/>
              <a:gdLst>
                <a:gd name="T0" fmla="*/ 14 w 14"/>
                <a:gd name="T1" fmla="*/ 0 h 8"/>
                <a:gd name="T2" fmla="*/ 14 w 14"/>
                <a:gd name="T3" fmla="*/ 0 h 8"/>
                <a:gd name="T4" fmla="*/ 12 w 14"/>
                <a:gd name="T5" fmla="*/ 1 h 8"/>
                <a:gd name="T6" fmla="*/ 4 w 14"/>
                <a:gd name="T7" fmla="*/ 3 h 8"/>
                <a:gd name="T8" fmla="*/ 0 w 14"/>
                <a:gd name="T9" fmla="*/ 8 h 8"/>
                <a:gd name="T10" fmla="*/ 14 w 14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8">
                  <a:moveTo>
                    <a:pt x="14" y="0"/>
                  </a:moveTo>
                  <a:lnTo>
                    <a:pt x="14" y="0"/>
                  </a:lnTo>
                  <a:cubicBezTo>
                    <a:pt x="13" y="1"/>
                    <a:pt x="12" y="1"/>
                    <a:pt x="12" y="1"/>
                  </a:cubicBezTo>
                  <a:cubicBezTo>
                    <a:pt x="9" y="1"/>
                    <a:pt x="6" y="2"/>
                    <a:pt x="4" y="3"/>
                  </a:cubicBezTo>
                  <a:cubicBezTo>
                    <a:pt x="3" y="5"/>
                    <a:pt x="2" y="7"/>
                    <a:pt x="0" y="8"/>
                  </a:cubicBezTo>
                  <a:cubicBezTo>
                    <a:pt x="6" y="7"/>
                    <a:pt x="11" y="4"/>
                    <a:pt x="1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110">
              <a:extLst>
                <a:ext uri="{FF2B5EF4-FFF2-40B4-BE49-F238E27FC236}">
                  <a16:creationId xmlns:a16="http://schemas.microsoft.com/office/drawing/2014/main" id="{A240CCE5-FAC0-4AC6-B3C6-F265FE3ED796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2" y="588"/>
              <a:ext cx="2" cy="1"/>
            </a:xfrm>
            <a:custGeom>
              <a:avLst/>
              <a:gdLst>
                <a:gd name="T0" fmla="*/ 0 w 11"/>
                <a:gd name="T1" fmla="*/ 5 h 5"/>
                <a:gd name="T2" fmla="*/ 0 w 11"/>
                <a:gd name="T3" fmla="*/ 5 h 5"/>
                <a:gd name="T4" fmla="*/ 11 w 11"/>
                <a:gd name="T5" fmla="*/ 5 h 5"/>
                <a:gd name="T6" fmla="*/ 0 w 11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5">
                  <a:moveTo>
                    <a:pt x="0" y="5"/>
                  </a:moveTo>
                  <a:lnTo>
                    <a:pt x="0" y="5"/>
                  </a:lnTo>
                  <a:cubicBezTo>
                    <a:pt x="4" y="5"/>
                    <a:pt x="8" y="5"/>
                    <a:pt x="11" y="5"/>
                  </a:cubicBezTo>
                  <a:cubicBezTo>
                    <a:pt x="6" y="0"/>
                    <a:pt x="3" y="1"/>
                    <a:pt x="0" y="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111">
              <a:extLst>
                <a:ext uri="{FF2B5EF4-FFF2-40B4-BE49-F238E27FC236}">
                  <a16:creationId xmlns:a16="http://schemas.microsoft.com/office/drawing/2014/main" id="{4E09798B-77AA-4CDC-BDCC-79D5E5F23786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0" y="957"/>
              <a:ext cx="2" cy="1"/>
            </a:xfrm>
            <a:custGeom>
              <a:avLst/>
              <a:gdLst>
                <a:gd name="T0" fmla="*/ 0 w 10"/>
                <a:gd name="T1" fmla="*/ 0 h 8"/>
                <a:gd name="T2" fmla="*/ 0 w 10"/>
                <a:gd name="T3" fmla="*/ 0 h 8"/>
                <a:gd name="T4" fmla="*/ 10 w 10"/>
                <a:gd name="T5" fmla="*/ 8 h 8"/>
                <a:gd name="T6" fmla="*/ 0 w 10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8">
                  <a:moveTo>
                    <a:pt x="0" y="0"/>
                  </a:moveTo>
                  <a:lnTo>
                    <a:pt x="0" y="0"/>
                  </a:lnTo>
                  <a:cubicBezTo>
                    <a:pt x="3" y="3"/>
                    <a:pt x="6" y="6"/>
                    <a:pt x="10" y="8"/>
                  </a:cubicBezTo>
                  <a:cubicBezTo>
                    <a:pt x="8" y="4"/>
                    <a:pt x="4" y="2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112">
              <a:extLst>
                <a:ext uri="{FF2B5EF4-FFF2-40B4-BE49-F238E27FC236}">
                  <a16:creationId xmlns:a16="http://schemas.microsoft.com/office/drawing/2014/main" id="{0DDB058A-BEC5-476D-BBA9-C14169E35AA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74" y="786"/>
              <a:ext cx="1" cy="3"/>
            </a:xfrm>
            <a:custGeom>
              <a:avLst/>
              <a:gdLst>
                <a:gd name="T0" fmla="*/ 6 w 6"/>
                <a:gd name="T1" fmla="*/ 0 h 12"/>
                <a:gd name="T2" fmla="*/ 6 w 6"/>
                <a:gd name="T3" fmla="*/ 0 h 12"/>
                <a:gd name="T4" fmla="*/ 0 w 6"/>
                <a:gd name="T5" fmla="*/ 7 h 12"/>
                <a:gd name="T6" fmla="*/ 2 w 6"/>
                <a:gd name="T7" fmla="*/ 12 h 12"/>
                <a:gd name="T8" fmla="*/ 6 w 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6" y="0"/>
                  </a:lnTo>
                  <a:cubicBezTo>
                    <a:pt x="3" y="3"/>
                    <a:pt x="1" y="5"/>
                    <a:pt x="0" y="7"/>
                  </a:cubicBezTo>
                  <a:cubicBezTo>
                    <a:pt x="1" y="9"/>
                    <a:pt x="1" y="10"/>
                    <a:pt x="2" y="12"/>
                  </a:cubicBezTo>
                  <a:lnTo>
                    <a:pt x="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113">
              <a:extLst>
                <a:ext uri="{FF2B5EF4-FFF2-40B4-BE49-F238E27FC236}">
                  <a16:creationId xmlns:a16="http://schemas.microsoft.com/office/drawing/2014/main" id="{ED9550EF-8757-434D-B005-9440F0DFF9C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7" y="692"/>
              <a:ext cx="8" cy="1"/>
            </a:xfrm>
            <a:custGeom>
              <a:avLst/>
              <a:gdLst>
                <a:gd name="T0" fmla="*/ 7 w 44"/>
                <a:gd name="T1" fmla="*/ 4 h 6"/>
                <a:gd name="T2" fmla="*/ 7 w 44"/>
                <a:gd name="T3" fmla="*/ 4 h 6"/>
                <a:gd name="T4" fmla="*/ 26 w 44"/>
                <a:gd name="T5" fmla="*/ 1 h 6"/>
                <a:gd name="T6" fmla="*/ 16 w 44"/>
                <a:gd name="T7" fmla="*/ 0 h 6"/>
                <a:gd name="T8" fmla="*/ 6 w 44"/>
                <a:gd name="T9" fmla="*/ 0 h 6"/>
                <a:gd name="T10" fmla="*/ 7 w 44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6">
                  <a:moveTo>
                    <a:pt x="7" y="4"/>
                  </a:moveTo>
                  <a:lnTo>
                    <a:pt x="7" y="4"/>
                  </a:lnTo>
                  <a:cubicBezTo>
                    <a:pt x="44" y="6"/>
                    <a:pt x="4" y="3"/>
                    <a:pt x="26" y="1"/>
                  </a:cubicBezTo>
                  <a:cubicBezTo>
                    <a:pt x="26" y="1"/>
                    <a:pt x="21" y="0"/>
                    <a:pt x="16" y="0"/>
                  </a:cubicBezTo>
                  <a:cubicBezTo>
                    <a:pt x="11" y="0"/>
                    <a:pt x="6" y="0"/>
                    <a:pt x="6" y="0"/>
                  </a:cubicBezTo>
                  <a:cubicBezTo>
                    <a:pt x="0" y="1"/>
                    <a:pt x="6" y="2"/>
                    <a:pt x="7" y="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114">
              <a:extLst>
                <a:ext uri="{FF2B5EF4-FFF2-40B4-BE49-F238E27FC236}">
                  <a16:creationId xmlns:a16="http://schemas.microsoft.com/office/drawing/2014/main" id="{9EB09C80-4944-4D0D-B199-41622EB9040E}"/>
                </a:ext>
              </a:extLst>
            </p:cNvPr>
            <p:cNvSpPr>
              <a:spLocks/>
            </p:cNvSpPr>
            <p:nvPr/>
          </p:nvSpPr>
          <p:spPr bwMode="gray">
            <a:xfrm>
              <a:off x="1453" y="612"/>
              <a:ext cx="0" cy="1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2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0"/>
                  </a:lnTo>
                  <a:cubicBezTo>
                    <a:pt x="1" y="1"/>
                    <a:pt x="1" y="2"/>
                    <a:pt x="2" y="3"/>
                  </a:cubicBezTo>
                  <a:cubicBezTo>
                    <a:pt x="2" y="3"/>
                    <a:pt x="2" y="2"/>
                    <a:pt x="2" y="2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115">
              <a:extLst>
                <a:ext uri="{FF2B5EF4-FFF2-40B4-BE49-F238E27FC236}">
                  <a16:creationId xmlns:a16="http://schemas.microsoft.com/office/drawing/2014/main" id="{DCCB721F-5A55-4168-A07E-643DB9A8A0D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7" y="684"/>
              <a:ext cx="1" cy="1"/>
            </a:xfrm>
            <a:custGeom>
              <a:avLst/>
              <a:gdLst>
                <a:gd name="T0" fmla="*/ 0 w 6"/>
                <a:gd name="T1" fmla="*/ 6 h 6"/>
                <a:gd name="T2" fmla="*/ 0 w 6"/>
                <a:gd name="T3" fmla="*/ 6 h 6"/>
                <a:gd name="T4" fmla="*/ 6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cubicBezTo>
                    <a:pt x="2" y="4"/>
                    <a:pt x="4" y="2"/>
                    <a:pt x="6" y="0"/>
                  </a:cubicBezTo>
                  <a:cubicBezTo>
                    <a:pt x="4" y="2"/>
                    <a:pt x="2" y="4"/>
                    <a:pt x="0" y="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16">
              <a:extLst>
                <a:ext uri="{FF2B5EF4-FFF2-40B4-BE49-F238E27FC236}">
                  <a16:creationId xmlns:a16="http://schemas.microsoft.com/office/drawing/2014/main" id="{7DE5063D-4476-4B0D-BB34-F5251ABC74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5" y="768"/>
              <a:ext cx="7" cy="7"/>
            </a:xfrm>
            <a:custGeom>
              <a:avLst/>
              <a:gdLst>
                <a:gd name="T0" fmla="*/ 12 w 35"/>
                <a:gd name="T1" fmla="*/ 0 h 36"/>
                <a:gd name="T2" fmla="*/ 12 w 35"/>
                <a:gd name="T3" fmla="*/ 0 h 36"/>
                <a:gd name="T4" fmla="*/ 9 w 35"/>
                <a:gd name="T5" fmla="*/ 36 h 36"/>
                <a:gd name="T6" fmla="*/ 18 w 35"/>
                <a:gd name="T7" fmla="*/ 26 h 36"/>
                <a:gd name="T8" fmla="*/ 12 w 3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6">
                  <a:moveTo>
                    <a:pt x="12" y="0"/>
                  </a:moveTo>
                  <a:lnTo>
                    <a:pt x="12" y="0"/>
                  </a:lnTo>
                  <a:lnTo>
                    <a:pt x="9" y="36"/>
                  </a:lnTo>
                  <a:lnTo>
                    <a:pt x="18" y="26"/>
                  </a:lnTo>
                  <a:cubicBezTo>
                    <a:pt x="0" y="20"/>
                    <a:pt x="35" y="6"/>
                    <a:pt x="1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17">
              <a:extLst>
                <a:ext uri="{FF2B5EF4-FFF2-40B4-BE49-F238E27FC236}">
                  <a16:creationId xmlns:a16="http://schemas.microsoft.com/office/drawing/2014/main" id="{0378D60A-E230-4C51-87AD-2A754D8E34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362" y="582"/>
              <a:ext cx="246" cy="658"/>
            </a:xfrm>
            <a:custGeom>
              <a:avLst/>
              <a:gdLst>
                <a:gd name="T0" fmla="*/ 981 w 1268"/>
                <a:gd name="T1" fmla="*/ 901 h 3400"/>
                <a:gd name="T2" fmla="*/ 1121 w 1268"/>
                <a:gd name="T3" fmla="*/ 2743 h 3400"/>
                <a:gd name="T4" fmla="*/ 1081 w 1268"/>
                <a:gd name="T5" fmla="*/ 2943 h 3400"/>
                <a:gd name="T6" fmla="*/ 916 w 1268"/>
                <a:gd name="T7" fmla="*/ 2671 h 3400"/>
                <a:gd name="T8" fmla="*/ 910 w 1268"/>
                <a:gd name="T9" fmla="*/ 2840 h 3400"/>
                <a:gd name="T10" fmla="*/ 793 w 1268"/>
                <a:gd name="T11" fmla="*/ 830 h 3400"/>
                <a:gd name="T12" fmla="*/ 754 w 1268"/>
                <a:gd name="T13" fmla="*/ 1918 h 3400"/>
                <a:gd name="T14" fmla="*/ 823 w 1268"/>
                <a:gd name="T15" fmla="*/ 2138 h 3400"/>
                <a:gd name="T16" fmla="*/ 846 w 1268"/>
                <a:gd name="T17" fmla="*/ 2310 h 3400"/>
                <a:gd name="T18" fmla="*/ 849 w 1268"/>
                <a:gd name="T19" fmla="*/ 2388 h 3400"/>
                <a:gd name="T20" fmla="*/ 853 w 1268"/>
                <a:gd name="T21" fmla="*/ 2426 h 3400"/>
                <a:gd name="T22" fmla="*/ 855 w 1268"/>
                <a:gd name="T23" fmla="*/ 2468 h 3400"/>
                <a:gd name="T24" fmla="*/ 825 w 1268"/>
                <a:gd name="T25" fmla="*/ 2597 h 3400"/>
                <a:gd name="T26" fmla="*/ 923 w 1268"/>
                <a:gd name="T27" fmla="*/ 2722 h 3400"/>
                <a:gd name="T28" fmla="*/ 916 w 1268"/>
                <a:gd name="T29" fmla="*/ 2798 h 3400"/>
                <a:gd name="T30" fmla="*/ 868 w 1268"/>
                <a:gd name="T31" fmla="*/ 2996 h 3400"/>
                <a:gd name="T32" fmla="*/ 971 w 1268"/>
                <a:gd name="T33" fmla="*/ 3066 h 3400"/>
                <a:gd name="T34" fmla="*/ 944 w 1268"/>
                <a:gd name="T35" fmla="*/ 3172 h 3400"/>
                <a:gd name="T36" fmla="*/ 979 w 1268"/>
                <a:gd name="T37" fmla="*/ 3272 h 3400"/>
                <a:gd name="T38" fmla="*/ 1035 w 1268"/>
                <a:gd name="T39" fmla="*/ 3342 h 3400"/>
                <a:gd name="T40" fmla="*/ 1102 w 1268"/>
                <a:gd name="T41" fmla="*/ 3351 h 3400"/>
                <a:gd name="T42" fmla="*/ 1092 w 1268"/>
                <a:gd name="T43" fmla="*/ 3263 h 3400"/>
                <a:gd name="T44" fmla="*/ 974 w 1268"/>
                <a:gd name="T45" fmla="*/ 3147 h 3400"/>
                <a:gd name="T46" fmla="*/ 1124 w 1268"/>
                <a:gd name="T47" fmla="*/ 3057 h 3400"/>
                <a:gd name="T48" fmla="*/ 1141 w 1268"/>
                <a:gd name="T49" fmla="*/ 2963 h 3400"/>
                <a:gd name="T50" fmla="*/ 1111 w 1268"/>
                <a:gd name="T51" fmla="*/ 2886 h 3400"/>
                <a:gd name="T52" fmla="*/ 1126 w 1268"/>
                <a:gd name="T53" fmla="*/ 2717 h 3400"/>
                <a:gd name="T54" fmla="*/ 1085 w 1268"/>
                <a:gd name="T55" fmla="*/ 2647 h 3400"/>
                <a:gd name="T56" fmla="*/ 1095 w 1268"/>
                <a:gd name="T57" fmla="*/ 2502 h 3400"/>
                <a:gd name="T58" fmla="*/ 1176 w 1268"/>
                <a:gd name="T59" fmla="*/ 2058 h 3400"/>
                <a:gd name="T60" fmla="*/ 1162 w 1268"/>
                <a:gd name="T61" fmla="*/ 1869 h 3400"/>
                <a:gd name="T62" fmla="*/ 1152 w 1268"/>
                <a:gd name="T63" fmla="*/ 1514 h 3400"/>
                <a:gd name="T64" fmla="*/ 1227 w 1268"/>
                <a:gd name="T65" fmla="*/ 1434 h 3400"/>
                <a:gd name="T66" fmla="*/ 1235 w 1268"/>
                <a:gd name="T67" fmla="*/ 1348 h 3400"/>
                <a:gd name="T68" fmla="*/ 1178 w 1268"/>
                <a:gd name="T69" fmla="*/ 1163 h 3400"/>
                <a:gd name="T70" fmla="*/ 1179 w 1268"/>
                <a:gd name="T71" fmla="*/ 1097 h 3400"/>
                <a:gd name="T72" fmla="*/ 1161 w 1268"/>
                <a:gd name="T73" fmla="*/ 988 h 3400"/>
                <a:gd name="T74" fmla="*/ 1027 w 1268"/>
                <a:gd name="T75" fmla="*/ 993 h 3400"/>
                <a:gd name="T76" fmla="*/ 1068 w 1268"/>
                <a:gd name="T77" fmla="*/ 909 h 3400"/>
                <a:gd name="T78" fmla="*/ 1146 w 1268"/>
                <a:gd name="T79" fmla="*/ 881 h 3400"/>
                <a:gd name="T80" fmla="*/ 1252 w 1268"/>
                <a:gd name="T81" fmla="*/ 830 h 3400"/>
                <a:gd name="T82" fmla="*/ 1166 w 1268"/>
                <a:gd name="T83" fmla="*/ 678 h 3400"/>
                <a:gd name="T84" fmla="*/ 1214 w 1268"/>
                <a:gd name="T85" fmla="*/ 555 h 3400"/>
                <a:gd name="T86" fmla="*/ 1195 w 1268"/>
                <a:gd name="T87" fmla="*/ 468 h 3400"/>
                <a:gd name="T88" fmla="*/ 1185 w 1268"/>
                <a:gd name="T89" fmla="*/ 212 h 3400"/>
                <a:gd name="T90" fmla="*/ 1149 w 1268"/>
                <a:gd name="T91" fmla="*/ 111 h 3400"/>
                <a:gd name="T92" fmla="*/ 854 w 1268"/>
                <a:gd name="T93" fmla="*/ 15 h 3400"/>
                <a:gd name="T94" fmla="*/ 523 w 1268"/>
                <a:gd name="T95" fmla="*/ 122 h 3400"/>
                <a:gd name="T96" fmla="*/ 452 w 1268"/>
                <a:gd name="T97" fmla="*/ 215 h 3400"/>
                <a:gd name="T98" fmla="*/ 279 w 1268"/>
                <a:gd name="T99" fmla="*/ 344 h 3400"/>
                <a:gd name="T100" fmla="*/ 197 w 1268"/>
                <a:gd name="T101" fmla="*/ 484 h 3400"/>
                <a:gd name="T102" fmla="*/ 84 w 1268"/>
                <a:gd name="T103" fmla="*/ 565 h 3400"/>
                <a:gd name="T104" fmla="*/ 262 w 1268"/>
                <a:gd name="T105" fmla="*/ 673 h 3400"/>
                <a:gd name="T106" fmla="*/ 457 w 1268"/>
                <a:gd name="T107" fmla="*/ 612 h 3400"/>
                <a:gd name="T108" fmla="*/ 687 w 1268"/>
                <a:gd name="T109" fmla="*/ 463 h 3400"/>
                <a:gd name="T110" fmla="*/ 822 w 1268"/>
                <a:gd name="T111" fmla="*/ 404 h 3400"/>
                <a:gd name="T112" fmla="*/ 834 w 1268"/>
                <a:gd name="T113" fmla="*/ 369 h 3400"/>
                <a:gd name="T114" fmla="*/ 808 w 1268"/>
                <a:gd name="T115" fmla="*/ 482 h 3400"/>
                <a:gd name="T116" fmla="*/ 825 w 1268"/>
                <a:gd name="T117" fmla="*/ 473 h 3400"/>
                <a:gd name="T118" fmla="*/ 849 w 1268"/>
                <a:gd name="T119" fmla="*/ 489 h 3400"/>
                <a:gd name="T120" fmla="*/ 784 w 1268"/>
                <a:gd name="T121" fmla="*/ 557 h 3400"/>
                <a:gd name="T122" fmla="*/ 838 w 1268"/>
                <a:gd name="T123" fmla="*/ 551 h 3400"/>
                <a:gd name="T124" fmla="*/ 842 w 1268"/>
                <a:gd name="T125" fmla="*/ 578 h 3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68" h="3400">
                  <a:moveTo>
                    <a:pt x="981" y="901"/>
                  </a:moveTo>
                  <a:lnTo>
                    <a:pt x="981" y="901"/>
                  </a:lnTo>
                  <a:cubicBezTo>
                    <a:pt x="997" y="903"/>
                    <a:pt x="1014" y="908"/>
                    <a:pt x="1026" y="906"/>
                  </a:cubicBezTo>
                  <a:cubicBezTo>
                    <a:pt x="1025" y="906"/>
                    <a:pt x="1025" y="907"/>
                    <a:pt x="1024" y="907"/>
                  </a:cubicBezTo>
                  <a:cubicBezTo>
                    <a:pt x="1030" y="906"/>
                    <a:pt x="1034" y="905"/>
                    <a:pt x="1038" y="906"/>
                  </a:cubicBezTo>
                  <a:cubicBezTo>
                    <a:pt x="1041" y="902"/>
                    <a:pt x="1045" y="897"/>
                    <a:pt x="1041" y="893"/>
                  </a:cubicBezTo>
                  <a:cubicBezTo>
                    <a:pt x="989" y="889"/>
                    <a:pt x="981" y="879"/>
                    <a:pt x="981" y="901"/>
                  </a:cubicBezTo>
                  <a:lnTo>
                    <a:pt x="981" y="901"/>
                  </a:lnTo>
                  <a:close/>
                  <a:moveTo>
                    <a:pt x="1094" y="1494"/>
                  </a:moveTo>
                  <a:lnTo>
                    <a:pt x="1094" y="1494"/>
                  </a:lnTo>
                  <a:cubicBezTo>
                    <a:pt x="1100" y="1500"/>
                    <a:pt x="1116" y="1512"/>
                    <a:pt x="1128" y="1501"/>
                  </a:cubicBezTo>
                  <a:cubicBezTo>
                    <a:pt x="1114" y="1496"/>
                    <a:pt x="1138" y="1487"/>
                    <a:pt x="1117" y="1483"/>
                  </a:cubicBezTo>
                  <a:cubicBezTo>
                    <a:pt x="1118" y="1482"/>
                    <a:pt x="1119" y="1482"/>
                    <a:pt x="1119" y="1482"/>
                  </a:cubicBezTo>
                  <a:cubicBezTo>
                    <a:pt x="1106" y="1487"/>
                    <a:pt x="1095" y="1492"/>
                    <a:pt x="1094" y="1494"/>
                  </a:cubicBezTo>
                  <a:lnTo>
                    <a:pt x="1094" y="1494"/>
                  </a:lnTo>
                  <a:close/>
                  <a:moveTo>
                    <a:pt x="1121" y="2743"/>
                  </a:moveTo>
                  <a:lnTo>
                    <a:pt x="1121" y="2743"/>
                  </a:lnTo>
                  <a:cubicBezTo>
                    <a:pt x="1137" y="2738"/>
                    <a:pt x="1132" y="2728"/>
                    <a:pt x="1128" y="2720"/>
                  </a:cubicBezTo>
                  <a:cubicBezTo>
                    <a:pt x="1126" y="2724"/>
                    <a:pt x="1122" y="2730"/>
                    <a:pt x="1121" y="2743"/>
                  </a:cubicBezTo>
                  <a:lnTo>
                    <a:pt x="1121" y="2743"/>
                  </a:lnTo>
                  <a:close/>
                  <a:moveTo>
                    <a:pt x="1081" y="2943"/>
                  </a:moveTo>
                  <a:lnTo>
                    <a:pt x="1081" y="2943"/>
                  </a:lnTo>
                  <a:cubicBezTo>
                    <a:pt x="1089" y="2941"/>
                    <a:pt x="1094" y="2939"/>
                    <a:pt x="1097" y="2935"/>
                  </a:cubicBezTo>
                  <a:cubicBezTo>
                    <a:pt x="1087" y="2938"/>
                    <a:pt x="1078" y="2940"/>
                    <a:pt x="1081" y="2943"/>
                  </a:cubicBezTo>
                  <a:lnTo>
                    <a:pt x="1081" y="2943"/>
                  </a:lnTo>
                  <a:close/>
                  <a:moveTo>
                    <a:pt x="1120" y="3041"/>
                  </a:moveTo>
                  <a:lnTo>
                    <a:pt x="1120" y="3041"/>
                  </a:lnTo>
                  <a:cubicBezTo>
                    <a:pt x="1117" y="3040"/>
                    <a:pt x="1114" y="3040"/>
                    <a:pt x="1111" y="3039"/>
                  </a:cubicBezTo>
                  <a:cubicBezTo>
                    <a:pt x="1111" y="3039"/>
                    <a:pt x="1111" y="3039"/>
                    <a:pt x="1111" y="3039"/>
                  </a:cubicBezTo>
                  <a:lnTo>
                    <a:pt x="1120" y="3041"/>
                  </a:lnTo>
                  <a:lnTo>
                    <a:pt x="1120" y="3041"/>
                  </a:lnTo>
                  <a:close/>
                  <a:moveTo>
                    <a:pt x="916" y="2671"/>
                  </a:moveTo>
                  <a:lnTo>
                    <a:pt x="916" y="2671"/>
                  </a:lnTo>
                  <a:cubicBezTo>
                    <a:pt x="931" y="2691"/>
                    <a:pt x="913" y="2685"/>
                    <a:pt x="902" y="2687"/>
                  </a:cubicBezTo>
                  <a:cubicBezTo>
                    <a:pt x="912" y="2667"/>
                    <a:pt x="900" y="2656"/>
                    <a:pt x="912" y="2638"/>
                  </a:cubicBezTo>
                  <a:cubicBezTo>
                    <a:pt x="904" y="2641"/>
                    <a:pt x="894" y="2642"/>
                    <a:pt x="887" y="2643"/>
                  </a:cubicBezTo>
                  <a:cubicBezTo>
                    <a:pt x="889" y="2636"/>
                    <a:pt x="897" y="2628"/>
                    <a:pt x="917" y="2626"/>
                  </a:cubicBezTo>
                  <a:cubicBezTo>
                    <a:pt x="956" y="2633"/>
                    <a:pt x="893" y="2681"/>
                    <a:pt x="916" y="2671"/>
                  </a:cubicBezTo>
                  <a:lnTo>
                    <a:pt x="916" y="2671"/>
                  </a:lnTo>
                  <a:close/>
                  <a:moveTo>
                    <a:pt x="910" y="2840"/>
                  </a:moveTo>
                  <a:lnTo>
                    <a:pt x="910" y="2840"/>
                  </a:lnTo>
                  <a:lnTo>
                    <a:pt x="916" y="2837"/>
                  </a:lnTo>
                  <a:cubicBezTo>
                    <a:pt x="923" y="2843"/>
                    <a:pt x="929" y="2846"/>
                    <a:pt x="910" y="2840"/>
                  </a:cubicBezTo>
                  <a:lnTo>
                    <a:pt x="910" y="2840"/>
                  </a:lnTo>
                  <a:close/>
                  <a:moveTo>
                    <a:pt x="775" y="719"/>
                  </a:moveTo>
                  <a:lnTo>
                    <a:pt x="775" y="719"/>
                  </a:lnTo>
                  <a:lnTo>
                    <a:pt x="752" y="722"/>
                  </a:lnTo>
                  <a:cubicBezTo>
                    <a:pt x="798" y="760"/>
                    <a:pt x="727" y="798"/>
                    <a:pt x="793" y="830"/>
                  </a:cubicBezTo>
                  <a:cubicBezTo>
                    <a:pt x="712" y="870"/>
                    <a:pt x="863" y="861"/>
                    <a:pt x="791" y="898"/>
                  </a:cubicBezTo>
                  <a:lnTo>
                    <a:pt x="802" y="898"/>
                  </a:lnTo>
                  <a:cubicBezTo>
                    <a:pt x="783" y="1029"/>
                    <a:pt x="737" y="1168"/>
                    <a:pt x="772" y="1293"/>
                  </a:cubicBezTo>
                  <a:lnTo>
                    <a:pt x="756" y="1292"/>
                  </a:lnTo>
                  <a:cubicBezTo>
                    <a:pt x="724" y="1491"/>
                    <a:pt x="755" y="1685"/>
                    <a:pt x="741" y="1882"/>
                  </a:cubicBezTo>
                  <a:cubicBezTo>
                    <a:pt x="756" y="1901"/>
                    <a:pt x="791" y="1890"/>
                    <a:pt x="809" y="1906"/>
                  </a:cubicBezTo>
                  <a:cubicBezTo>
                    <a:pt x="808" y="1913"/>
                    <a:pt x="810" y="1928"/>
                    <a:pt x="790" y="1928"/>
                  </a:cubicBezTo>
                  <a:cubicBezTo>
                    <a:pt x="779" y="1915"/>
                    <a:pt x="762" y="1922"/>
                    <a:pt x="754" y="1918"/>
                  </a:cubicBezTo>
                  <a:cubicBezTo>
                    <a:pt x="756" y="1940"/>
                    <a:pt x="734" y="1969"/>
                    <a:pt x="758" y="1988"/>
                  </a:cubicBezTo>
                  <a:lnTo>
                    <a:pt x="783" y="1972"/>
                  </a:lnTo>
                  <a:cubicBezTo>
                    <a:pt x="794" y="1980"/>
                    <a:pt x="787" y="1992"/>
                    <a:pt x="785" y="1999"/>
                  </a:cubicBezTo>
                  <a:cubicBezTo>
                    <a:pt x="772" y="1996"/>
                    <a:pt x="745" y="2006"/>
                    <a:pt x="739" y="2000"/>
                  </a:cubicBezTo>
                  <a:cubicBezTo>
                    <a:pt x="802" y="2041"/>
                    <a:pt x="712" y="2033"/>
                    <a:pt x="737" y="2068"/>
                  </a:cubicBezTo>
                  <a:cubicBezTo>
                    <a:pt x="790" y="2074"/>
                    <a:pt x="835" y="2118"/>
                    <a:pt x="873" y="2147"/>
                  </a:cubicBezTo>
                  <a:lnTo>
                    <a:pt x="860" y="2162"/>
                  </a:lnTo>
                  <a:cubicBezTo>
                    <a:pt x="860" y="2142"/>
                    <a:pt x="820" y="2163"/>
                    <a:pt x="823" y="2138"/>
                  </a:cubicBezTo>
                  <a:cubicBezTo>
                    <a:pt x="807" y="2159"/>
                    <a:pt x="831" y="2178"/>
                    <a:pt x="822" y="2198"/>
                  </a:cubicBezTo>
                  <a:cubicBezTo>
                    <a:pt x="836" y="2194"/>
                    <a:pt x="853" y="2194"/>
                    <a:pt x="860" y="2202"/>
                  </a:cubicBezTo>
                  <a:cubicBezTo>
                    <a:pt x="852" y="2215"/>
                    <a:pt x="825" y="2216"/>
                    <a:pt x="823" y="2230"/>
                  </a:cubicBezTo>
                  <a:lnTo>
                    <a:pt x="806" y="2216"/>
                  </a:lnTo>
                  <a:cubicBezTo>
                    <a:pt x="786" y="2226"/>
                    <a:pt x="812" y="2233"/>
                    <a:pt x="816" y="2242"/>
                  </a:cubicBezTo>
                  <a:cubicBezTo>
                    <a:pt x="793" y="2245"/>
                    <a:pt x="789" y="2266"/>
                    <a:pt x="764" y="2262"/>
                  </a:cubicBezTo>
                  <a:cubicBezTo>
                    <a:pt x="795" y="2281"/>
                    <a:pt x="778" y="2288"/>
                    <a:pt x="798" y="2307"/>
                  </a:cubicBezTo>
                  <a:cubicBezTo>
                    <a:pt x="821" y="2286"/>
                    <a:pt x="827" y="2312"/>
                    <a:pt x="846" y="2310"/>
                  </a:cubicBezTo>
                  <a:lnTo>
                    <a:pt x="837" y="2286"/>
                  </a:lnTo>
                  <a:cubicBezTo>
                    <a:pt x="822" y="2320"/>
                    <a:pt x="833" y="2276"/>
                    <a:pt x="794" y="2279"/>
                  </a:cubicBezTo>
                  <a:cubicBezTo>
                    <a:pt x="812" y="2263"/>
                    <a:pt x="858" y="2299"/>
                    <a:pt x="852" y="2273"/>
                  </a:cubicBezTo>
                  <a:cubicBezTo>
                    <a:pt x="871" y="2304"/>
                    <a:pt x="854" y="2311"/>
                    <a:pt x="887" y="2342"/>
                  </a:cubicBezTo>
                  <a:cubicBezTo>
                    <a:pt x="879" y="2323"/>
                    <a:pt x="912" y="2346"/>
                    <a:pt x="923" y="2335"/>
                  </a:cubicBezTo>
                  <a:cubicBezTo>
                    <a:pt x="925" y="2359"/>
                    <a:pt x="910" y="2341"/>
                    <a:pt x="885" y="2349"/>
                  </a:cubicBezTo>
                  <a:cubicBezTo>
                    <a:pt x="887" y="2362"/>
                    <a:pt x="865" y="2368"/>
                    <a:pt x="894" y="2379"/>
                  </a:cubicBezTo>
                  <a:cubicBezTo>
                    <a:pt x="883" y="2401"/>
                    <a:pt x="865" y="2377"/>
                    <a:pt x="849" y="2388"/>
                  </a:cubicBezTo>
                  <a:cubicBezTo>
                    <a:pt x="823" y="2380"/>
                    <a:pt x="881" y="2327"/>
                    <a:pt x="797" y="2335"/>
                  </a:cubicBezTo>
                  <a:cubicBezTo>
                    <a:pt x="796" y="2323"/>
                    <a:pt x="763" y="2310"/>
                    <a:pt x="765" y="2294"/>
                  </a:cubicBezTo>
                  <a:cubicBezTo>
                    <a:pt x="754" y="2308"/>
                    <a:pt x="727" y="2329"/>
                    <a:pt x="746" y="2346"/>
                  </a:cubicBezTo>
                  <a:lnTo>
                    <a:pt x="793" y="2346"/>
                  </a:lnTo>
                  <a:cubicBezTo>
                    <a:pt x="795" y="2360"/>
                    <a:pt x="827" y="2362"/>
                    <a:pt x="823" y="2371"/>
                  </a:cubicBezTo>
                  <a:cubicBezTo>
                    <a:pt x="809" y="2367"/>
                    <a:pt x="790" y="2376"/>
                    <a:pt x="794" y="2387"/>
                  </a:cubicBezTo>
                  <a:cubicBezTo>
                    <a:pt x="800" y="2384"/>
                    <a:pt x="799" y="2379"/>
                    <a:pt x="807" y="2380"/>
                  </a:cubicBezTo>
                  <a:cubicBezTo>
                    <a:pt x="811" y="2400"/>
                    <a:pt x="843" y="2402"/>
                    <a:pt x="853" y="2426"/>
                  </a:cubicBezTo>
                  <a:cubicBezTo>
                    <a:pt x="865" y="2406"/>
                    <a:pt x="879" y="2402"/>
                    <a:pt x="899" y="2383"/>
                  </a:cubicBezTo>
                  <a:cubicBezTo>
                    <a:pt x="932" y="2387"/>
                    <a:pt x="904" y="2396"/>
                    <a:pt x="908" y="2407"/>
                  </a:cubicBezTo>
                  <a:cubicBezTo>
                    <a:pt x="904" y="2405"/>
                    <a:pt x="903" y="2403"/>
                    <a:pt x="896" y="2406"/>
                  </a:cubicBezTo>
                  <a:lnTo>
                    <a:pt x="913" y="2417"/>
                  </a:lnTo>
                  <a:cubicBezTo>
                    <a:pt x="899" y="2442"/>
                    <a:pt x="864" y="2415"/>
                    <a:pt x="849" y="2435"/>
                  </a:cubicBezTo>
                  <a:cubicBezTo>
                    <a:pt x="821" y="2450"/>
                    <a:pt x="865" y="2454"/>
                    <a:pt x="849" y="2465"/>
                  </a:cubicBezTo>
                  <a:cubicBezTo>
                    <a:pt x="852" y="2464"/>
                    <a:pt x="855" y="2463"/>
                    <a:pt x="857" y="2463"/>
                  </a:cubicBezTo>
                  <a:cubicBezTo>
                    <a:pt x="857" y="2465"/>
                    <a:pt x="856" y="2467"/>
                    <a:pt x="855" y="2468"/>
                  </a:cubicBezTo>
                  <a:cubicBezTo>
                    <a:pt x="856" y="2468"/>
                    <a:pt x="857" y="2468"/>
                    <a:pt x="858" y="2468"/>
                  </a:cubicBezTo>
                  <a:cubicBezTo>
                    <a:pt x="863" y="2480"/>
                    <a:pt x="860" y="2494"/>
                    <a:pt x="885" y="2497"/>
                  </a:cubicBezTo>
                  <a:cubicBezTo>
                    <a:pt x="874" y="2499"/>
                    <a:pt x="889" y="2509"/>
                    <a:pt x="897" y="2513"/>
                  </a:cubicBezTo>
                  <a:cubicBezTo>
                    <a:pt x="907" y="2520"/>
                    <a:pt x="937" y="2536"/>
                    <a:pt x="897" y="2548"/>
                  </a:cubicBezTo>
                  <a:cubicBezTo>
                    <a:pt x="896" y="2547"/>
                    <a:pt x="897" y="2547"/>
                    <a:pt x="897" y="2547"/>
                  </a:cubicBezTo>
                  <a:cubicBezTo>
                    <a:pt x="892" y="2563"/>
                    <a:pt x="880" y="2576"/>
                    <a:pt x="867" y="2573"/>
                  </a:cubicBezTo>
                  <a:lnTo>
                    <a:pt x="857" y="2599"/>
                  </a:lnTo>
                  <a:lnTo>
                    <a:pt x="825" y="2597"/>
                  </a:lnTo>
                  <a:cubicBezTo>
                    <a:pt x="834" y="2620"/>
                    <a:pt x="853" y="2617"/>
                    <a:pt x="887" y="2633"/>
                  </a:cubicBezTo>
                  <a:cubicBezTo>
                    <a:pt x="868" y="2650"/>
                    <a:pt x="885" y="2679"/>
                    <a:pt x="897" y="2690"/>
                  </a:cubicBezTo>
                  <a:cubicBezTo>
                    <a:pt x="896" y="2692"/>
                    <a:pt x="896" y="2694"/>
                    <a:pt x="897" y="2699"/>
                  </a:cubicBezTo>
                  <a:lnTo>
                    <a:pt x="910" y="2689"/>
                  </a:lnTo>
                  <a:cubicBezTo>
                    <a:pt x="909" y="2707"/>
                    <a:pt x="926" y="2704"/>
                    <a:pt x="927" y="2717"/>
                  </a:cubicBezTo>
                  <a:cubicBezTo>
                    <a:pt x="929" y="2714"/>
                    <a:pt x="931" y="2714"/>
                    <a:pt x="926" y="2720"/>
                  </a:cubicBezTo>
                  <a:cubicBezTo>
                    <a:pt x="926" y="2723"/>
                    <a:pt x="925" y="2725"/>
                    <a:pt x="924" y="2728"/>
                  </a:cubicBezTo>
                  <a:cubicBezTo>
                    <a:pt x="921" y="2727"/>
                    <a:pt x="921" y="2724"/>
                    <a:pt x="923" y="2722"/>
                  </a:cubicBezTo>
                  <a:lnTo>
                    <a:pt x="912" y="2724"/>
                  </a:lnTo>
                  <a:cubicBezTo>
                    <a:pt x="878" y="2740"/>
                    <a:pt x="932" y="2746"/>
                    <a:pt x="921" y="2762"/>
                  </a:cubicBezTo>
                  <a:cubicBezTo>
                    <a:pt x="920" y="2761"/>
                    <a:pt x="917" y="2758"/>
                    <a:pt x="918" y="2756"/>
                  </a:cubicBezTo>
                  <a:cubicBezTo>
                    <a:pt x="909" y="2766"/>
                    <a:pt x="864" y="2780"/>
                    <a:pt x="892" y="2783"/>
                  </a:cubicBezTo>
                  <a:cubicBezTo>
                    <a:pt x="889" y="2785"/>
                    <a:pt x="894" y="2788"/>
                    <a:pt x="901" y="2790"/>
                  </a:cubicBezTo>
                  <a:lnTo>
                    <a:pt x="897" y="2797"/>
                  </a:lnTo>
                  <a:cubicBezTo>
                    <a:pt x="898" y="2794"/>
                    <a:pt x="900" y="2792"/>
                    <a:pt x="901" y="2790"/>
                  </a:cubicBezTo>
                  <a:cubicBezTo>
                    <a:pt x="911" y="2794"/>
                    <a:pt x="922" y="2798"/>
                    <a:pt x="916" y="2798"/>
                  </a:cubicBezTo>
                  <a:lnTo>
                    <a:pt x="911" y="2821"/>
                  </a:lnTo>
                  <a:cubicBezTo>
                    <a:pt x="906" y="2825"/>
                    <a:pt x="910" y="2831"/>
                    <a:pt x="915" y="2836"/>
                  </a:cubicBezTo>
                  <a:lnTo>
                    <a:pt x="902" y="2840"/>
                  </a:lnTo>
                  <a:cubicBezTo>
                    <a:pt x="904" y="2848"/>
                    <a:pt x="896" y="2848"/>
                    <a:pt x="892" y="2848"/>
                  </a:cubicBezTo>
                  <a:cubicBezTo>
                    <a:pt x="847" y="2878"/>
                    <a:pt x="918" y="2891"/>
                    <a:pt x="879" y="2923"/>
                  </a:cubicBezTo>
                  <a:cubicBezTo>
                    <a:pt x="901" y="2928"/>
                    <a:pt x="911" y="2915"/>
                    <a:pt x="923" y="2914"/>
                  </a:cubicBezTo>
                  <a:cubicBezTo>
                    <a:pt x="940" y="2918"/>
                    <a:pt x="956" y="2935"/>
                    <a:pt x="969" y="2943"/>
                  </a:cubicBezTo>
                  <a:cubicBezTo>
                    <a:pt x="939" y="2958"/>
                    <a:pt x="913" y="3001"/>
                    <a:pt x="868" y="2996"/>
                  </a:cubicBezTo>
                  <a:cubicBezTo>
                    <a:pt x="866" y="3022"/>
                    <a:pt x="896" y="2987"/>
                    <a:pt x="912" y="2999"/>
                  </a:cubicBezTo>
                  <a:lnTo>
                    <a:pt x="910" y="3002"/>
                  </a:lnTo>
                  <a:cubicBezTo>
                    <a:pt x="915" y="2993"/>
                    <a:pt x="930" y="2986"/>
                    <a:pt x="947" y="2980"/>
                  </a:cubicBezTo>
                  <a:cubicBezTo>
                    <a:pt x="971" y="2977"/>
                    <a:pt x="979" y="2999"/>
                    <a:pt x="972" y="3006"/>
                  </a:cubicBezTo>
                  <a:lnTo>
                    <a:pt x="937" y="3003"/>
                  </a:lnTo>
                  <a:cubicBezTo>
                    <a:pt x="951" y="3026"/>
                    <a:pt x="1002" y="3019"/>
                    <a:pt x="1037" y="3032"/>
                  </a:cubicBezTo>
                  <a:cubicBezTo>
                    <a:pt x="1024" y="3051"/>
                    <a:pt x="993" y="3042"/>
                    <a:pt x="962" y="3047"/>
                  </a:cubicBezTo>
                  <a:lnTo>
                    <a:pt x="971" y="3066"/>
                  </a:lnTo>
                  <a:lnTo>
                    <a:pt x="946" y="3067"/>
                  </a:lnTo>
                  <a:cubicBezTo>
                    <a:pt x="953" y="3080"/>
                    <a:pt x="977" y="3081"/>
                    <a:pt x="968" y="3099"/>
                  </a:cubicBezTo>
                  <a:cubicBezTo>
                    <a:pt x="943" y="3088"/>
                    <a:pt x="945" y="3127"/>
                    <a:pt x="912" y="3111"/>
                  </a:cubicBezTo>
                  <a:cubicBezTo>
                    <a:pt x="903" y="3121"/>
                    <a:pt x="953" y="3122"/>
                    <a:pt x="919" y="3128"/>
                  </a:cubicBezTo>
                  <a:cubicBezTo>
                    <a:pt x="947" y="3134"/>
                    <a:pt x="933" y="3119"/>
                    <a:pt x="941" y="3113"/>
                  </a:cubicBezTo>
                  <a:cubicBezTo>
                    <a:pt x="980" y="3108"/>
                    <a:pt x="961" y="3134"/>
                    <a:pt x="972" y="3145"/>
                  </a:cubicBezTo>
                  <a:cubicBezTo>
                    <a:pt x="952" y="3147"/>
                    <a:pt x="947" y="3139"/>
                    <a:pt x="935" y="3153"/>
                  </a:cubicBezTo>
                  <a:cubicBezTo>
                    <a:pt x="950" y="3155"/>
                    <a:pt x="963" y="3163"/>
                    <a:pt x="944" y="3172"/>
                  </a:cubicBezTo>
                  <a:cubicBezTo>
                    <a:pt x="970" y="3171"/>
                    <a:pt x="950" y="3187"/>
                    <a:pt x="949" y="3195"/>
                  </a:cubicBezTo>
                  <a:cubicBezTo>
                    <a:pt x="954" y="3186"/>
                    <a:pt x="972" y="3173"/>
                    <a:pt x="994" y="3177"/>
                  </a:cubicBezTo>
                  <a:cubicBezTo>
                    <a:pt x="1005" y="3184"/>
                    <a:pt x="1010" y="3189"/>
                    <a:pt x="1008" y="3205"/>
                  </a:cubicBezTo>
                  <a:lnTo>
                    <a:pt x="1019" y="3194"/>
                  </a:lnTo>
                  <a:cubicBezTo>
                    <a:pt x="1058" y="3205"/>
                    <a:pt x="993" y="3217"/>
                    <a:pt x="1006" y="3235"/>
                  </a:cubicBezTo>
                  <a:cubicBezTo>
                    <a:pt x="990" y="3228"/>
                    <a:pt x="990" y="3223"/>
                    <a:pt x="971" y="3218"/>
                  </a:cubicBezTo>
                  <a:cubicBezTo>
                    <a:pt x="983" y="3226"/>
                    <a:pt x="1003" y="3241"/>
                    <a:pt x="1016" y="3254"/>
                  </a:cubicBezTo>
                  <a:lnTo>
                    <a:pt x="979" y="3272"/>
                  </a:lnTo>
                  <a:cubicBezTo>
                    <a:pt x="998" y="3273"/>
                    <a:pt x="978" y="3290"/>
                    <a:pt x="1004" y="3288"/>
                  </a:cubicBezTo>
                  <a:cubicBezTo>
                    <a:pt x="988" y="3309"/>
                    <a:pt x="972" y="3274"/>
                    <a:pt x="953" y="3273"/>
                  </a:cubicBezTo>
                  <a:cubicBezTo>
                    <a:pt x="938" y="3299"/>
                    <a:pt x="997" y="3291"/>
                    <a:pt x="959" y="3316"/>
                  </a:cubicBezTo>
                  <a:lnTo>
                    <a:pt x="935" y="3310"/>
                  </a:lnTo>
                  <a:cubicBezTo>
                    <a:pt x="933" y="3318"/>
                    <a:pt x="948" y="3333"/>
                    <a:pt x="936" y="3334"/>
                  </a:cubicBezTo>
                  <a:cubicBezTo>
                    <a:pt x="945" y="3334"/>
                    <a:pt x="941" y="3330"/>
                    <a:pt x="941" y="3325"/>
                  </a:cubicBezTo>
                  <a:cubicBezTo>
                    <a:pt x="992" y="3327"/>
                    <a:pt x="979" y="3359"/>
                    <a:pt x="1032" y="3353"/>
                  </a:cubicBezTo>
                  <a:lnTo>
                    <a:pt x="1035" y="3342"/>
                  </a:lnTo>
                  <a:cubicBezTo>
                    <a:pt x="1046" y="3358"/>
                    <a:pt x="1083" y="3368"/>
                    <a:pt x="1065" y="3381"/>
                  </a:cubicBezTo>
                  <a:cubicBezTo>
                    <a:pt x="1048" y="3392"/>
                    <a:pt x="1028" y="3377"/>
                    <a:pt x="1014" y="3372"/>
                  </a:cubicBezTo>
                  <a:cubicBezTo>
                    <a:pt x="1012" y="3387"/>
                    <a:pt x="1073" y="3381"/>
                    <a:pt x="1069" y="3400"/>
                  </a:cubicBezTo>
                  <a:cubicBezTo>
                    <a:pt x="1077" y="3389"/>
                    <a:pt x="1096" y="3390"/>
                    <a:pt x="1110" y="3395"/>
                  </a:cubicBezTo>
                  <a:cubicBezTo>
                    <a:pt x="1113" y="3384"/>
                    <a:pt x="1122" y="3361"/>
                    <a:pt x="1100" y="3367"/>
                  </a:cubicBezTo>
                  <a:lnTo>
                    <a:pt x="1095" y="3371"/>
                  </a:lnTo>
                  <a:cubicBezTo>
                    <a:pt x="1081" y="3371"/>
                    <a:pt x="1076" y="3365"/>
                    <a:pt x="1069" y="3363"/>
                  </a:cubicBezTo>
                  <a:cubicBezTo>
                    <a:pt x="1068" y="3348"/>
                    <a:pt x="1092" y="3354"/>
                    <a:pt x="1102" y="3351"/>
                  </a:cubicBezTo>
                  <a:cubicBezTo>
                    <a:pt x="1109" y="3326"/>
                    <a:pt x="1049" y="3352"/>
                    <a:pt x="1049" y="3330"/>
                  </a:cubicBezTo>
                  <a:lnTo>
                    <a:pt x="1060" y="3326"/>
                  </a:lnTo>
                  <a:cubicBezTo>
                    <a:pt x="1045" y="3316"/>
                    <a:pt x="1042" y="3300"/>
                    <a:pt x="1010" y="3299"/>
                  </a:cubicBezTo>
                  <a:cubicBezTo>
                    <a:pt x="1044" y="3287"/>
                    <a:pt x="995" y="3274"/>
                    <a:pt x="1015" y="3262"/>
                  </a:cubicBezTo>
                  <a:cubicBezTo>
                    <a:pt x="1090" y="3256"/>
                    <a:pt x="1012" y="3300"/>
                    <a:pt x="1053" y="3311"/>
                  </a:cubicBezTo>
                  <a:cubicBezTo>
                    <a:pt x="1068" y="3298"/>
                    <a:pt x="1090" y="3315"/>
                    <a:pt x="1107" y="3319"/>
                  </a:cubicBezTo>
                  <a:lnTo>
                    <a:pt x="1073" y="3284"/>
                  </a:lnTo>
                  <a:cubicBezTo>
                    <a:pt x="1083" y="3281"/>
                    <a:pt x="1120" y="3268"/>
                    <a:pt x="1092" y="3263"/>
                  </a:cubicBezTo>
                  <a:lnTo>
                    <a:pt x="1090" y="3266"/>
                  </a:lnTo>
                  <a:cubicBezTo>
                    <a:pt x="1081" y="3252"/>
                    <a:pt x="1050" y="3257"/>
                    <a:pt x="1060" y="3244"/>
                  </a:cubicBezTo>
                  <a:cubicBezTo>
                    <a:pt x="1067" y="3242"/>
                    <a:pt x="1079" y="3245"/>
                    <a:pt x="1084" y="3246"/>
                  </a:cubicBezTo>
                  <a:cubicBezTo>
                    <a:pt x="1090" y="3234"/>
                    <a:pt x="1067" y="3237"/>
                    <a:pt x="1059" y="3229"/>
                  </a:cubicBezTo>
                  <a:cubicBezTo>
                    <a:pt x="1065" y="3217"/>
                    <a:pt x="1090" y="3234"/>
                    <a:pt x="1098" y="3223"/>
                  </a:cubicBezTo>
                  <a:cubicBezTo>
                    <a:pt x="1068" y="3211"/>
                    <a:pt x="1104" y="3202"/>
                    <a:pt x="1102" y="3190"/>
                  </a:cubicBezTo>
                  <a:cubicBezTo>
                    <a:pt x="1059" y="3197"/>
                    <a:pt x="1041" y="3147"/>
                    <a:pt x="1004" y="3174"/>
                  </a:cubicBezTo>
                  <a:lnTo>
                    <a:pt x="974" y="3147"/>
                  </a:lnTo>
                  <a:cubicBezTo>
                    <a:pt x="996" y="3137"/>
                    <a:pt x="1035" y="3163"/>
                    <a:pt x="1070" y="3154"/>
                  </a:cubicBezTo>
                  <a:lnTo>
                    <a:pt x="1070" y="3176"/>
                  </a:lnTo>
                  <a:cubicBezTo>
                    <a:pt x="1123" y="3170"/>
                    <a:pt x="1033" y="3131"/>
                    <a:pt x="1091" y="3113"/>
                  </a:cubicBezTo>
                  <a:cubicBezTo>
                    <a:pt x="1093" y="3101"/>
                    <a:pt x="1086" y="3105"/>
                    <a:pt x="1111" y="3081"/>
                  </a:cubicBezTo>
                  <a:lnTo>
                    <a:pt x="1064" y="3087"/>
                  </a:lnTo>
                  <a:cubicBezTo>
                    <a:pt x="1074" y="3075"/>
                    <a:pt x="1100" y="3070"/>
                    <a:pt x="1109" y="3069"/>
                  </a:cubicBezTo>
                  <a:cubicBezTo>
                    <a:pt x="1105" y="3062"/>
                    <a:pt x="1106" y="3056"/>
                    <a:pt x="1108" y="3049"/>
                  </a:cubicBezTo>
                  <a:cubicBezTo>
                    <a:pt x="1115" y="3051"/>
                    <a:pt x="1122" y="3053"/>
                    <a:pt x="1124" y="3057"/>
                  </a:cubicBezTo>
                  <a:cubicBezTo>
                    <a:pt x="1150" y="3047"/>
                    <a:pt x="1140" y="3045"/>
                    <a:pt x="1126" y="3042"/>
                  </a:cubicBezTo>
                  <a:cubicBezTo>
                    <a:pt x="1114" y="3038"/>
                    <a:pt x="1115" y="3031"/>
                    <a:pt x="1115" y="3023"/>
                  </a:cubicBezTo>
                  <a:lnTo>
                    <a:pt x="1133" y="3029"/>
                  </a:lnTo>
                  <a:cubicBezTo>
                    <a:pt x="1129" y="3025"/>
                    <a:pt x="1124" y="3020"/>
                    <a:pt x="1115" y="3019"/>
                  </a:cubicBezTo>
                  <a:cubicBezTo>
                    <a:pt x="1115" y="3016"/>
                    <a:pt x="1114" y="3014"/>
                    <a:pt x="1111" y="3011"/>
                  </a:cubicBezTo>
                  <a:cubicBezTo>
                    <a:pt x="1102" y="3013"/>
                    <a:pt x="1075" y="3019"/>
                    <a:pt x="1063" y="3030"/>
                  </a:cubicBezTo>
                  <a:cubicBezTo>
                    <a:pt x="1081" y="3002"/>
                    <a:pt x="1069" y="2981"/>
                    <a:pt x="1108" y="2956"/>
                  </a:cubicBezTo>
                  <a:cubicBezTo>
                    <a:pt x="1121" y="2957"/>
                    <a:pt x="1139" y="2966"/>
                    <a:pt x="1141" y="2963"/>
                  </a:cubicBezTo>
                  <a:cubicBezTo>
                    <a:pt x="1147" y="2951"/>
                    <a:pt x="1122" y="2939"/>
                    <a:pt x="1102" y="2941"/>
                  </a:cubicBezTo>
                  <a:cubicBezTo>
                    <a:pt x="1100" y="2939"/>
                    <a:pt x="1100" y="2937"/>
                    <a:pt x="1099" y="2935"/>
                  </a:cubicBezTo>
                  <a:cubicBezTo>
                    <a:pt x="1111" y="2932"/>
                    <a:pt x="1124" y="2929"/>
                    <a:pt x="1126" y="2923"/>
                  </a:cubicBezTo>
                  <a:cubicBezTo>
                    <a:pt x="1130" y="2922"/>
                    <a:pt x="1133" y="2920"/>
                    <a:pt x="1135" y="2916"/>
                  </a:cubicBezTo>
                  <a:cubicBezTo>
                    <a:pt x="1097" y="2913"/>
                    <a:pt x="1115" y="2890"/>
                    <a:pt x="1098" y="2886"/>
                  </a:cubicBezTo>
                  <a:cubicBezTo>
                    <a:pt x="1094" y="2891"/>
                    <a:pt x="1094" y="2898"/>
                    <a:pt x="1096" y="2904"/>
                  </a:cubicBezTo>
                  <a:cubicBezTo>
                    <a:pt x="1070" y="2896"/>
                    <a:pt x="1041" y="2889"/>
                    <a:pt x="1061" y="2881"/>
                  </a:cubicBezTo>
                  <a:cubicBezTo>
                    <a:pt x="1086" y="2897"/>
                    <a:pt x="1100" y="2860"/>
                    <a:pt x="1111" y="2886"/>
                  </a:cubicBezTo>
                  <a:cubicBezTo>
                    <a:pt x="1159" y="2866"/>
                    <a:pt x="1077" y="2878"/>
                    <a:pt x="1093" y="2858"/>
                  </a:cubicBezTo>
                  <a:lnTo>
                    <a:pt x="1111" y="2845"/>
                  </a:lnTo>
                  <a:cubicBezTo>
                    <a:pt x="1139" y="2845"/>
                    <a:pt x="1126" y="2864"/>
                    <a:pt x="1136" y="2861"/>
                  </a:cubicBezTo>
                  <a:lnTo>
                    <a:pt x="1132" y="2852"/>
                  </a:lnTo>
                  <a:cubicBezTo>
                    <a:pt x="1153" y="2860"/>
                    <a:pt x="1141" y="2894"/>
                    <a:pt x="1173" y="2913"/>
                  </a:cubicBezTo>
                  <a:lnTo>
                    <a:pt x="1186" y="2872"/>
                  </a:lnTo>
                  <a:cubicBezTo>
                    <a:pt x="1152" y="2822"/>
                    <a:pt x="1187" y="2756"/>
                    <a:pt x="1125" y="2715"/>
                  </a:cubicBezTo>
                  <a:cubicBezTo>
                    <a:pt x="1125" y="2715"/>
                    <a:pt x="1126" y="2716"/>
                    <a:pt x="1126" y="2717"/>
                  </a:cubicBezTo>
                  <a:cubicBezTo>
                    <a:pt x="1123" y="2716"/>
                    <a:pt x="1118" y="2716"/>
                    <a:pt x="1108" y="2716"/>
                  </a:cubicBezTo>
                  <a:lnTo>
                    <a:pt x="1115" y="2713"/>
                  </a:lnTo>
                  <a:lnTo>
                    <a:pt x="1094" y="2705"/>
                  </a:lnTo>
                  <a:cubicBezTo>
                    <a:pt x="1119" y="2695"/>
                    <a:pt x="1124" y="2676"/>
                    <a:pt x="1144" y="2660"/>
                  </a:cubicBezTo>
                  <a:cubicBezTo>
                    <a:pt x="1127" y="2670"/>
                    <a:pt x="1127" y="2670"/>
                    <a:pt x="1106" y="2672"/>
                  </a:cubicBezTo>
                  <a:cubicBezTo>
                    <a:pt x="1079" y="2671"/>
                    <a:pt x="1067" y="2670"/>
                    <a:pt x="1077" y="2655"/>
                  </a:cubicBezTo>
                  <a:cubicBezTo>
                    <a:pt x="1096" y="2654"/>
                    <a:pt x="1096" y="2663"/>
                    <a:pt x="1111" y="2652"/>
                  </a:cubicBezTo>
                  <a:cubicBezTo>
                    <a:pt x="1102" y="2658"/>
                    <a:pt x="1088" y="2653"/>
                    <a:pt x="1085" y="2647"/>
                  </a:cubicBezTo>
                  <a:cubicBezTo>
                    <a:pt x="1098" y="2638"/>
                    <a:pt x="1100" y="2624"/>
                    <a:pt x="1120" y="2624"/>
                  </a:cubicBezTo>
                  <a:cubicBezTo>
                    <a:pt x="1125" y="2627"/>
                    <a:pt x="1118" y="2631"/>
                    <a:pt x="1116" y="2633"/>
                  </a:cubicBezTo>
                  <a:cubicBezTo>
                    <a:pt x="1121" y="2637"/>
                    <a:pt x="1133" y="2617"/>
                    <a:pt x="1149" y="2628"/>
                  </a:cubicBezTo>
                  <a:lnTo>
                    <a:pt x="1143" y="2614"/>
                  </a:lnTo>
                  <a:cubicBezTo>
                    <a:pt x="1159" y="2604"/>
                    <a:pt x="1169" y="2619"/>
                    <a:pt x="1179" y="2615"/>
                  </a:cubicBezTo>
                  <a:cubicBezTo>
                    <a:pt x="1165" y="2591"/>
                    <a:pt x="1120" y="2579"/>
                    <a:pt x="1106" y="2557"/>
                  </a:cubicBezTo>
                  <a:cubicBezTo>
                    <a:pt x="1117" y="2558"/>
                    <a:pt x="1160" y="2557"/>
                    <a:pt x="1148" y="2557"/>
                  </a:cubicBezTo>
                  <a:cubicBezTo>
                    <a:pt x="1160" y="2540"/>
                    <a:pt x="1099" y="2522"/>
                    <a:pt x="1095" y="2502"/>
                  </a:cubicBezTo>
                  <a:cubicBezTo>
                    <a:pt x="1108" y="2505"/>
                    <a:pt x="1103" y="2512"/>
                    <a:pt x="1110" y="2518"/>
                  </a:cubicBezTo>
                  <a:cubicBezTo>
                    <a:pt x="1125" y="2458"/>
                    <a:pt x="1125" y="2409"/>
                    <a:pt x="1165" y="2352"/>
                  </a:cubicBezTo>
                  <a:lnTo>
                    <a:pt x="1120" y="2338"/>
                  </a:lnTo>
                  <a:lnTo>
                    <a:pt x="1150" y="2323"/>
                  </a:lnTo>
                  <a:cubicBezTo>
                    <a:pt x="1177" y="2264"/>
                    <a:pt x="1148" y="2219"/>
                    <a:pt x="1134" y="2163"/>
                  </a:cubicBezTo>
                  <a:cubicBezTo>
                    <a:pt x="1131" y="2146"/>
                    <a:pt x="1165" y="2153"/>
                    <a:pt x="1178" y="2144"/>
                  </a:cubicBezTo>
                  <a:cubicBezTo>
                    <a:pt x="1182" y="2106"/>
                    <a:pt x="1131" y="2097"/>
                    <a:pt x="1121" y="2061"/>
                  </a:cubicBezTo>
                  <a:cubicBezTo>
                    <a:pt x="1135" y="2066"/>
                    <a:pt x="1174" y="2074"/>
                    <a:pt x="1176" y="2058"/>
                  </a:cubicBezTo>
                  <a:cubicBezTo>
                    <a:pt x="1163" y="2055"/>
                    <a:pt x="1142" y="2054"/>
                    <a:pt x="1150" y="2044"/>
                  </a:cubicBezTo>
                  <a:lnTo>
                    <a:pt x="1164" y="2049"/>
                  </a:lnTo>
                  <a:cubicBezTo>
                    <a:pt x="1184" y="2039"/>
                    <a:pt x="1165" y="2031"/>
                    <a:pt x="1174" y="2012"/>
                  </a:cubicBezTo>
                  <a:cubicBezTo>
                    <a:pt x="1173" y="1979"/>
                    <a:pt x="1141" y="1947"/>
                    <a:pt x="1091" y="1920"/>
                  </a:cubicBezTo>
                  <a:cubicBezTo>
                    <a:pt x="1096" y="1891"/>
                    <a:pt x="1139" y="1923"/>
                    <a:pt x="1149" y="1918"/>
                  </a:cubicBezTo>
                  <a:cubicBezTo>
                    <a:pt x="1133" y="1938"/>
                    <a:pt x="1157" y="1932"/>
                    <a:pt x="1173" y="1936"/>
                  </a:cubicBezTo>
                  <a:cubicBezTo>
                    <a:pt x="1160" y="1925"/>
                    <a:pt x="1152" y="1912"/>
                    <a:pt x="1184" y="1907"/>
                  </a:cubicBezTo>
                  <a:cubicBezTo>
                    <a:pt x="1182" y="1891"/>
                    <a:pt x="1184" y="1885"/>
                    <a:pt x="1162" y="1869"/>
                  </a:cubicBezTo>
                  <a:cubicBezTo>
                    <a:pt x="1173" y="1877"/>
                    <a:pt x="1156" y="1884"/>
                    <a:pt x="1141" y="1876"/>
                  </a:cubicBezTo>
                  <a:cubicBezTo>
                    <a:pt x="1152" y="1864"/>
                    <a:pt x="1140" y="1832"/>
                    <a:pt x="1180" y="1834"/>
                  </a:cubicBezTo>
                  <a:cubicBezTo>
                    <a:pt x="1173" y="1762"/>
                    <a:pt x="1182" y="1681"/>
                    <a:pt x="1181" y="1604"/>
                  </a:cubicBezTo>
                  <a:cubicBezTo>
                    <a:pt x="1161" y="1591"/>
                    <a:pt x="1173" y="1614"/>
                    <a:pt x="1159" y="1607"/>
                  </a:cubicBezTo>
                  <a:cubicBezTo>
                    <a:pt x="1132" y="1587"/>
                    <a:pt x="1173" y="1592"/>
                    <a:pt x="1151" y="1576"/>
                  </a:cubicBezTo>
                  <a:lnTo>
                    <a:pt x="1173" y="1583"/>
                  </a:lnTo>
                  <a:cubicBezTo>
                    <a:pt x="1177" y="1561"/>
                    <a:pt x="1137" y="1536"/>
                    <a:pt x="1117" y="1514"/>
                  </a:cubicBezTo>
                  <a:cubicBezTo>
                    <a:pt x="1142" y="1518"/>
                    <a:pt x="1138" y="1496"/>
                    <a:pt x="1152" y="1514"/>
                  </a:cubicBezTo>
                  <a:cubicBezTo>
                    <a:pt x="1148" y="1504"/>
                    <a:pt x="1260" y="1493"/>
                    <a:pt x="1237" y="1484"/>
                  </a:cubicBezTo>
                  <a:lnTo>
                    <a:pt x="1133" y="1494"/>
                  </a:lnTo>
                  <a:cubicBezTo>
                    <a:pt x="1123" y="1494"/>
                    <a:pt x="1130" y="1479"/>
                    <a:pt x="1123" y="1480"/>
                  </a:cubicBezTo>
                  <a:cubicBezTo>
                    <a:pt x="1143" y="1471"/>
                    <a:pt x="1168" y="1460"/>
                    <a:pt x="1168" y="1454"/>
                  </a:cubicBezTo>
                  <a:cubicBezTo>
                    <a:pt x="1194" y="1451"/>
                    <a:pt x="1188" y="1467"/>
                    <a:pt x="1187" y="1476"/>
                  </a:cubicBezTo>
                  <a:cubicBezTo>
                    <a:pt x="1231" y="1478"/>
                    <a:pt x="1216" y="1447"/>
                    <a:pt x="1256" y="1460"/>
                  </a:cubicBezTo>
                  <a:cubicBezTo>
                    <a:pt x="1249" y="1441"/>
                    <a:pt x="1233" y="1462"/>
                    <a:pt x="1217" y="1451"/>
                  </a:cubicBezTo>
                  <a:lnTo>
                    <a:pt x="1227" y="1434"/>
                  </a:lnTo>
                  <a:lnTo>
                    <a:pt x="1212" y="1447"/>
                  </a:lnTo>
                  <a:cubicBezTo>
                    <a:pt x="1199" y="1433"/>
                    <a:pt x="1166" y="1427"/>
                    <a:pt x="1191" y="1409"/>
                  </a:cubicBezTo>
                  <a:lnTo>
                    <a:pt x="1149" y="1389"/>
                  </a:lnTo>
                  <a:cubicBezTo>
                    <a:pt x="1183" y="1388"/>
                    <a:pt x="1155" y="1375"/>
                    <a:pt x="1164" y="1366"/>
                  </a:cubicBezTo>
                  <a:lnTo>
                    <a:pt x="1185" y="1372"/>
                  </a:lnTo>
                  <a:cubicBezTo>
                    <a:pt x="1185" y="1359"/>
                    <a:pt x="1191" y="1354"/>
                    <a:pt x="1203" y="1346"/>
                  </a:cubicBezTo>
                  <a:cubicBezTo>
                    <a:pt x="1234" y="1354"/>
                    <a:pt x="1196" y="1358"/>
                    <a:pt x="1225" y="1362"/>
                  </a:cubicBezTo>
                  <a:lnTo>
                    <a:pt x="1235" y="1348"/>
                  </a:lnTo>
                  <a:cubicBezTo>
                    <a:pt x="1215" y="1347"/>
                    <a:pt x="1200" y="1338"/>
                    <a:pt x="1188" y="1348"/>
                  </a:cubicBezTo>
                  <a:cubicBezTo>
                    <a:pt x="1152" y="1334"/>
                    <a:pt x="1122" y="1326"/>
                    <a:pt x="1126" y="1292"/>
                  </a:cubicBezTo>
                  <a:cubicBezTo>
                    <a:pt x="1160" y="1278"/>
                    <a:pt x="1155" y="1309"/>
                    <a:pt x="1188" y="1304"/>
                  </a:cubicBezTo>
                  <a:cubicBezTo>
                    <a:pt x="1203" y="1269"/>
                    <a:pt x="1103" y="1259"/>
                    <a:pt x="1107" y="1238"/>
                  </a:cubicBezTo>
                  <a:cubicBezTo>
                    <a:pt x="1122" y="1213"/>
                    <a:pt x="1091" y="1213"/>
                    <a:pt x="1089" y="1187"/>
                  </a:cubicBezTo>
                  <a:cubicBezTo>
                    <a:pt x="1112" y="1196"/>
                    <a:pt x="1114" y="1169"/>
                    <a:pt x="1136" y="1165"/>
                  </a:cubicBezTo>
                  <a:lnTo>
                    <a:pt x="1159" y="1176"/>
                  </a:lnTo>
                  <a:cubicBezTo>
                    <a:pt x="1153" y="1168"/>
                    <a:pt x="1162" y="1161"/>
                    <a:pt x="1178" y="1163"/>
                  </a:cubicBezTo>
                  <a:cubicBezTo>
                    <a:pt x="1147" y="1164"/>
                    <a:pt x="1151" y="1128"/>
                    <a:pt x="1136" y="1110"/>
                  </a:cubicBezTo>
                  <a:lnTo>
                    <a:pt x="1110" y="1112"/>
                  </a:lnTo>
                  <a:cubicBezTo>
                    <a:pt x="1102" y="1097"/>
                    <a:pt x="1086" y="1077"/>
                    <a:pt x="1093" y="1062"/>
                  </a:cubicBezTo>
                  <a:cubicBezTo>
                    <a:pt x="1086" y="1040"/>
                    <a:pt x="1062" y="1044"/>
                    <a:pt x="1034" y="1026"/>
                  </a:cubicBezTo>
                  <a:cubicBezTo>
                    <a:pt x="1058" y="1017"/>
                    <a:pt x="1086" y="1019"/>
                    <a:pt x="1115" y="1023"/>
                  </a:cubicBezTo>
                  <a:cubicBezTo>
                    <a:pt x="1101" y="1029"/>
                    <a:pt x="1109" y="1039"/>
                    <a:pt x="1100" y="1049"/>
                  </a:cubicBezTo>
                  <a:cubicBezTo>
                    <a:pt x="1122" y="1078"/>
                    <a:pt x="1176" y="1102"/>
                    <a:pt x="1163" y="1130"/>
                  </a:cubicBezTo>
                  <a:cubicBezTo>
                    <a:pt x="1226" y="1144"/>
                    <a:pt x="1156" y="1110"/>
                    <a:pt x="1179" y="1097"/>
                  </a:cubicBezTo>
                  <a:cubicBezTo>
                    <a:pt x="1183" y="1098"/>
                    <a:pt x="1184" y="1099"/>
                    <a:pt x="1184" y="1100"/>
                  </a:cubicBezTo>
                  <a:cubicBezTo>
                    <a:pt x="1185" y="1099"/>
                    <a:pt x="1185" y="1098"/>
                    <a:pt x="1186" y="1097"/>
                  </a:cubicBezTo>
                  <a:cubicBezTo>
                    <a:pt x="1194" y="1107"/>
                    <a:pt x="1203" y="1124"/>
                    <a:pt x="1236" y="1128"/>
                  </a:cubicBezTo>
                  <a:cubicBezTo>
                    <a:pt x="1230" y="1110"/>
                    <a:pt x="1173" y="1113"/>
                    <a:pt x="1201" y="1093"/>
                  </a:cubicBezTo>
                  <a:cubicBezTo>
                    <a:pt x="1183" y="1077"/>
                    <a:pt x="1234" y="1066"/>
                    <a:pt x="1239" y="1057"/>
                  </a:cubicBezTo>
                  <a:cubicBezTo>
                    <a:pt x="1215" y="1046"/>
                    <a:pt x="1164" y="1043"/>
                    <a:pt x="1175" y="1018"/>
                  </a:cubicBezTo>
                  <a:lnTo>
                    <a:pt x="1210" y="1031"/>
                  </a:lnTo>
                  <a:cubicBezTo>
                    <a:pt x="1212" y="1002"/>
                    <a:pt x="1159" y="1015"/>
                    <a:pt x="1161" y="988"/>
                  </a:cubicBezTo>
                  <a:cubicBezTo>
                    <a:pt x="1157" y="998"/>
                    <a:pt x="1127" y="978"/>
                    <a:pt x="1125" y="996"/>
                  </a:cubicBezTo>
                  <a:cubicBezTo>
                    <a:pt x="1106" y="986"/>
                    <a:pt x="1103" y="967"/>
                    <a:pt x="1114" y="952"/>
                  </a:cubicBezTo>
                  <a:cubicBezTo>
                    <a:pt x="1109" y="948"/>
                    <a:pt x="1102" y="951"/>
                    <a:pt x="1090" y="950"/>
                  </a:cubicBezTo>
                  <a:cubicBezTo>
                    <a:pt x="1065" y="965"/>
                    <a:pt x="1113" y="976"/>
                    <a:pt x="1077" y="988"/>
                  </a:cubicBezTo>
                  <a:lnTo>
                    <a:pt x="1115" y="1001"/>
                  </a:lnTo>
                  <a:cubicBezTo>
                    <a:pt x="1101" y="1015"/>
                    <a:pt x="1070" y="1016"/>
                    <a:pt x="1055" y="1006"/>
                  </a:cubicBezTo>
                  <a:cubicBezTo>
                    <a:pt x="1056" y="1010"/>
                    <a:pt x="1061" y="1014"/>
                    <a:pt x="1055" y="1017"/>
                  </a:cubicBezTo>
                  <a:cubicBezTo>
                    <a:pt x="997" y="1018"/>
                    <a:pt x="1076" y="1000"/>
                    <a:pt x="1027" y="993"/>
                  </a:cubicBezTo>
                  <a:lnTo>
                    <a:pt x="1031" y="1004"/>
                  </a:lnTo>
                  <a:cubicBezTo>
                    <a:pt x="993" y="1007"/>
                    <a:pt x="999" y="977"/>
                    <a:pt x="1002" y="964"/>
                  </a:cubicBezTo>
                  <a:cubicBezTo>
                    <a:pt x="1020" y="949"/>
                    <a:pt x="1027" y="935"/>
                    <a:pt x="1054" y="935"/>
                  </a:cubicBezTo>
                  <a:lnTo>
                    <a:pt x="1065" y="956"/>
                  </a:lnTo>
                  <a:cubicBezTo>
                    <a:pt x="1087" y="947"/>
                    <a:pt x="1054" y="929"/>
                    <a:pt x="1055" y="917"/>
                  </a:cubicBezTo>
                  <a:cubicBezTo>
                    <a:pt x="1059" y="917"/>
                    <a:pt x="1062" y="916"/>
                    <a:pt x="1064" y="914"/>
                  </a:cubicBezTo>
                  <a:cubicBezTo>
                    <a:pt x="1061" y="915"/>
                    <a:pt x="1059" y="915"/>
                    <a:pt x="1056" y="915"/>
                  </a:cubicBezTo>
                  <a:cubicBezTo>
                    <a:pt x="1058" y="912"/>
                    <a:pt x="1061" y="910"/>
                    <a:pt x="1068" y="909"/>
                  </a:cubicBezTo>
                  <a:cubicBezTo>
                    <a:pt x="1069" y="898"/>
                    <a:pt x="1053" y="882"/>
                    <a:pt x="1062" y="872"/>
                  </a:cubicBezTo>
                  <a:lnTo>
                    <a:pt x="1038" y="872"/>
                  </a:lnTo>
                  <a:lnTo>
                    <a:pt x="1052" y="874"/>
                  </a:lnTo>
                  <a:cubicBezTo>
                    <a:pt x="1050" y="884"/>
                    <a:pt x="1035" y="897"/>
                    <a:pt x="1017" y="888"/>
                  </a:cubicBezTo>
                  <a:cubicBezTo>
                    <a:pt x="1001" y="866"/>
                    <a:pt x="1048" y="863"/>
                    <a:pt x="1069" y="859"/>
                  </a:cubicBezTo>
                  <a:cubicBezTo>
                    <a:pt x="1106" y="866"/>
                    <a:pt x="1068" y="880"/>
                    <a:pt x="1081" y="892"/>
                  </a:cubicBezTo>
                  <a:cubicBezTo>
                    <a:pt x="1118" y="887"/>
                    <a:pt x="1085" y="870"/>
                    <a:pt x="1111" y="848"/>
                  </a:cubicBezTo>
                  <a:cubicBezTo>
                    <a:pt x="1151" y="859"/>
                    <a:pt x="1109" y="875"/>
                    <a:pt x="1146" y="881"/>
                  </a:cubicBezTo>
                  <a:cubicBezTo>
                    <a:pt x="1153" y="863"/>
                    <a:pt x="1125" y="857"/>
                    <a:pt x="1136" y="839"/>
                  </a:cubicBezTo>
                  <a:cubicBezTo>
                    <a:pt x="1155" y="842"/>
                    <a:pt x="1156" y="861"/>
                    <a:pt x="1180" y="860"/>
                  </a:cubicBezTo>
                  <a:lnTo>
                    <a:pt x="1192" y="849"/>
                  </a:lnTo>
                  <a:cubicBezTo>
                    <a:pt x="1193" y="879"/>
                    <a:pt x="1242" y="846"/>
                    <a:pt x="1251" y="870"/>
                  </a:cubicBezTo>
                  <a:cubicBezTo>
                    <a:pt x="1268" y="859"/>
                    <a:pt x="1219" y="853"/>
                    <a:pt x="1245" y="838"/>
                  </a:cubicBezTo>
                  <a:cubicBezTo>
                    <a:pt x="1227" y="842"/>
                    <a:pt x="1195" y="853"/>
                    <a:pt x="1180" y="837"/>
                  </a:cubicBezTo>
                  <a:lnTo>
                    <a:pt x="1192" y="821"/>
                  </a:lnTo>
                  <a:cubicBezTo>
                    <a:pt x="1212" y="814"/>
                    <a:pt x="1235" y="840"/>
                    <a:pt x="1252" y="830"/>
                  </a:cubicBezTo>
                  <a:lnTo>
                    <a:pt x="1239" y="812"/>
                  </a:lnTo>
                  <a:cubicBezTo>
                    <a:pt x="1227" y="812"/>
                    <a:pt x="1220" y="820"/>
                    <a:pt x="1204" y="814"/>
                  </a:cubicBezTo>
                  <a:cubicBezTo>
                    <a:pt x="1217" y="804"/>
                    <a:pt x="1158" y="795"/>
                    <a:pt x="1141" y="782"/>
                  </a:cubicBezTo>
                  <a:cubicBezTo>
                    <a:pt x="1142" y="772"/>
                    <a:pt x="1145" y="764"/>
                    <a:pt x="1160" y="762"/>
                  </a:cubicBezTo>
                  <a:cubicBezTo>
                    <a:pt x="1125" y="736"/>
                    <a:pt x="1128" y="705"/>
                    <a:pt x="1095" y="680"/>
                  </a:cubicBezTo>
                  <a:cubicBezTo>
                    <a:pt x="1118" y="697"/>
                    <a:pt x="1136" y="682"/>
                    <a:pt x="1155" y="674"/>
                  </a:cubicBezTo>
                  <a:cubicBezTo>
                    <a:pt x="1159" y="692"/>
                    <a:pt x="1197" y="694"/>
                    <a:pt x="1221" y="694"/>
                  </a:cubicBezTo>
                  <a:cubicBezTo>
                    <a:pt x="1218" y="683"/>
                    <a:pt x="1179" y="674"/>
                    <a:pt x="1166" y="678"/>
                  </a:cubicBezTo>
                  <a:cubicBezTo>
                    <a:pt x="1182" y="661"/>
                    <a:pt x="1140" y="665"/>
                    <a:pt x="1167" y="650"/>
                  </a:cubicBezTo>
                  <a:cubicBezTo>
                    <a:pt x="1180" y="641"/>
                    <a:pt x="1204" y="657"/>
                    <a:pt x="1218" y="655"/>
                  </a:cubicBezTo>
                  <a:cubicBezTo>
                    <a:pt x="1221" y="635"/>
                    <a:pt x="1173" y="647"/>
                    <a:pt x="1183" y="626"/>
                  </a:cubicBezTo>
                  <a:cubicBezTo>
                    <a:pt x="1188" y="628"/>
                    <a:pt x="1189" y="630"/>
                    <a:pt x="1196" y="628"/>
                  </a:cubicBezTo>
                  <a:cubicBezTo>
                    <a:pt x="1205" y="618"/>
                    <a:pt x="1188" y="604"/>
                    <a:pt x="1169" y="601"/>
                  </a:cubicBezTo>
                  <a:cubicBezTo>
                    <a:pt x="1182" y="598"/>
                    <a:pt x="1188" y="596"/>
                    <a:pt x="1190" y="591"/>
                  </a:cubicBezTo>
                  <a:cubicBezTo>
                    <a:pt x="1193" y="585"/>
                    <a:pt x="1193" y="579"/>
                    <a:pt x="1193" y="573"/>
                  </a:cubicBezTo>
                  <a:cubicBezTo>
                    <a:pt x="1192" y="562"/>
                    <a:pt x="1190" y="554"/>
                    <a:pt x="1214" y="555"/>
                  </a:cubicBezTo>
                  <a:cubicBezTo>
                    <a:pt x="1209" y="532"/>
                    <a:pt x="1202" y="535"/>
                    <a:pt x="1195" y="541"/>
                  </a:cubicBezTo>
                  <a:cubicBezTo>
                    <a:pt x="1188" y="548"/>
                    <a:pt x="1180" y="559"/>
                    <a:pt x="1171" y="555"/>
                  </a:cubicBezTo>
                  <a:cubicBezTo>
                    <a:pt x="1161" y="546"/>
                    <a:pt x="1161" y="534"/>
                    <a:pt x="1164" y="523"/>
                  </a:cubicBezTo>
                  <a:cubicBezTo>
                    <a:pt x="1168" y="511"/>
                    <a:pt x="1174" y="500"/>
                    <a:pt x="1179" y="494"/>
                  </a:cubicBezTo>
                  <a:cubicBezTo>
                    <a:pt x="1179" y="504"/>
                    <a:pt x="1192" y="512"/>
                    <a:pt x="1184" y="524"/>
                  </a:cubicBezTo>
                  <a:cubicBezTo>
                    <a:pt x="1184" y="524"/>
                    <a:pt x="1192" y="521"/>
                    <a:pt x="1201" y="517"/>
                  </a:cubicBezTo>
                  <a:cubicBezTo>
                    <a:pt x="1209" y="514"/>
                    <a:pt x="1218" y="510"/>
                    <a:pt x="1218" y="510"/>
                  </a:cubicBezTo>
                  <a:cubicBezTo>
                    <a:pt x="1231" y="479"/>
                    <a:pt x="1213" y="472"/>
                    <a:pt x="1195" y="468"/>
                  </a:cubicBezTo>
                  <a:cubicBezTo>
                    <a:pt x="1177" y="464"/>
                    <a:pt x="1160" y="461"/>
                    <a:pt x="1176" y="431"/>
                  </a:cubicBezTo>
                  <a:cubicBezTo>
                    <a:pt x="1184" y="442"/>
                    <a:pt x="1190" y="442"/>
                    <a:pt x="1197" y="441"/>
                  </a:cubicBezTo>
                  <a:cubicBezTo>
                    <a:pt x="1205" y="439"/>
                    <a:pt x="1213" y="436"/>
                    <a:pt x="1224" y="440"/>
                  </a:cubicBezTo>
                  <a:cubicBezTo>
                    <a:pt x="1216" y="433"/>
                    <a:pt x="1229" y="386"/>
                    <a:pt x="1201" y="421"/>
                  </a:cubicBezTo>
                  <a:cubicBezTo>
                    <a:pt x="1205" y="400"/>
                    <a:pt x="1212" y="383"/>
                    <a:pt x="1219" y="366"/>
                  </a:cubicBezTo>
                  <a:cubicBezTo>
                    <a:pt x="1204" y="357"/>
                    <a:pt x="1192" y="346"/>
                    <a:pt x="1169" y="349"/>
                  </a:cubicBezTo>
                  <a:cubicBezTo>
                    <a:pt x="1170" y="327"/>
                    <a:pt x="1190" y="298"/>
                    <a:pt x="1201" y="279"/>
                  </a:cubicBezTo>
                  <a:cubicBezTo>
                    <a:pt x="1185" y="262"/>
                    <a:pt x="1186" y="238"/>
                    <a:pt x="1185" y="212"/>
                  </a:cubicBezTo>
                  <a:cubicBezTo>
                    <a:pt x="1184" y="186"/>
                    <a:pt x="1182" y="160"/>
                    <a:pt x="1168" y="145"/>
                  </a:cubicBezTo>
                  <a:lnTo>
                    <a:pt x="1167" y="150"/>
                  </a:lnTo>
                  <a:cubicBezTo>
                    <a:pt x="1166" y="128"/>
                    <a:pt x="1159" y="141"/>
                    <a:pt x="1151" y="154"/>
                  </a:cubicBezTo>
                  <a:cubicBezTo>
                    <a:pt x="1144" y="166"/>
                    <a:pt x="1135" y="179"/>
                    <a:pt x="1133" y="160"/>
                  </a:cubicBezTo>
                  <a:cubicBezTo>
                    <a:pt x="1148" y="147"/>
                    <a:pt x="1152" y="136"/>
                    <a:pt x="1154" y="124"/>
                  </a:cubicBezTo>
                  <a:cubicBezTo>
                    <a:pt x="1154" y="123"/>
                    <a:pt x="1154" y="121"/>
                    <a:pt x="1154" y="120"/>
                  </a:cubicBezTo>
                  <a:cubicBezTo>
                    <a:pt x="1154" y="119"/>
                    <a:pt x="1155" y="117"/>
                    <a:pt x="1154" y="116"/>
                  </a:cubicBezTo>
                  <a:cubicBezTo>
                    <a:pt x="1152" y="114"/>
                    <a:pt x="1151" y="113"/>
                    <a:pt x="1149" y="111"/>
                  </a:cubicBezTo>
                  <a:cubicBezTo>
                    <a:pt x="1146" y="107"/>
                    <a:pt x="1144" y="102"/>
                    <a:pt x="1145" y="96"/>
                  </a:cubicBezTo>
                  <a:cubicBezTo>
                    <a:pt x="1127" y="76"/>
                    <a:pt x="1100" y="73"/>
                    <a:pt x="1076" y="71"/>
                  </a:cubicBezTo>
                  <a:cubicBezTo>
                    <a:pt x="1064" y="70"/>
                    <a:pt x="1052" y="71"/>
                    <a:pt x="1041" y="68"/>
                  </a:cubicBezTo>
                  <a:cubicBezTo>
                    <a:pt x="1031" y="66"/>
                    <a:pt x="1021" y="62"/>
                    <a:pt x="1012" y="53"/>
                  </a:cubicBezTo>
                  <a:cubicBezTo>
                    <a:pt x="1016" y="45"/>
                    <a:pt x="1024" y="36"/>
                    <a:pt x="1034" y="38"/>
                  </a:cubicBezTo>
                  <a:cubicBezTo>
                    <a:pt x="1003" y="18"/>
                    <a:pt x="969" y="22"/>
                    <a:pt x="934" y="21"/>
                  </a:cubicBezTo>
                  <a:lnTo>
                    <a:pt x="938" y="16"/>
                  </a:lnTo>
                  <a:cubicBezTo>
                    <a:pt x="915" y="0"/>
                    <a:pt x="885" y="3"/>
                    <a:pt x="854" y="15"/>
                  </a:cubicBezTo>
                  <a:cubicBezTo>
                    <a:pt x="839" y="22"/>
                    <a:pt x="824" y="30"/>
                    <a:pt x="809" y="39"/>
                  </a:cubicBezTo>
                  <a:cubicBezTo>
                    <a:pt x="794" y="48"/>
                    <a:pt x="779" y="56"/>
                    <a:pt x="764" y="64"/>
                  </a:cubicBezTo>
                  <a:cubicBezTo>
                    <a:pt x="769" y="57"/>
                    <a:pt x="770" y="40"/>
                    <a:pt x="774" y="33"/>
                  </a:cubicBezTo>
                  <a:cubicBezTo>
                    <a:pt x="743" y="33"/>
                    <a:pt x="686" y="48"/>
                    <a:pt x="671" y="98"/>
                  </a:cubicBezTo>
                  <a:cubicBezTo>
                    <a:pt x="649" y="86"/>
                    <a:pt x="643" y="93"/>
                    <a:pt x="636" y="100"/>
                  </a:cubicBezTo>
                  <a:cubicBezTo>
                    <a:pt x="629" y="107"/>
                    <a:pt x="622" y="114"/>
                    <a:pt x="591" y="109"/>
                  </a:cubicBezTo>
                  <a:cubicBezTo>
                    <a:pt x="585" y="103"/>
                    <a:pt x="593" y="100"/>
                    <a:pt x="596" y="96"/>
                  </a:cubicBezTo>
                  <a:cubicBezTo>
                    <a:pt x="567" y="97"/>
                    <a:pt x="550" y="112"/>
                    <a:pt x="523" y="122"/>
                  </a:cubicBezTo>
                  <a:cubicBezTo>
                    <a:pt x="509" y="137"/>
                    <a:pt x="510" y="146"/>
                    <a:pt x="509" y="156"/>
                  </a:cubicBezTo>
                  <a:cubicBezTo>
                    <a:pt x="507" y="167"/>
                    <a:pt x="507" y="177"/>
                    <a:pt x="505" y="186"/>
                  </a:cubicBezTo>
                  <a:cubicBezTo>
                    <a:pt x="503" y="204"/>
                    <a:pt x="497" y="218"/>
                    <a:pt x="476" y="221"/>
                  </a:cubicBezTo>
                  <a:cubicBezTo>
                    <a:pt x="447" y="174"/>
                    <a:pt x="490" y="197"/>
                    <a:pt x="469" y="158"/>
                  </a:cubicBezTo>
                  <a:cubicBezTo>
                    <a:pt x="467" y="170"/>
                    <a:pt x="467" y="184"/>
                    <a:pt x="451" y="178"/>
                  </a:cubicBezTo>
                  <a:cubicBezTo>
                    <a:pt x="446" y="156"/>
                    <a:pt x="445" y="165"/>
                    <a:pt x="439" y="145"/>
                  </a:cubicBezTo>
                  <a:cubicBezTo>
                    <a:pt x="425" y="137"/>
                    <a:pt x="439" y="212"/>
                    <a:pt x="436" y="207"/>
                  </a:cubicBezTo>
                  <a:cubicBezTo>
                    <a:pt x="441" y="217"/>
                    <a:pt x="446" y="221"/>
                    <a:pt x="452" y="215"/>
                  </a:cubicBezTo>
                  <a:cubicBezTo>
                    <a:pt x="461" y="250"/>
                    <a:pt x="420" y="237"/>
                    <a:pt x="410" y="259"/>
                  </a:cubicBezTo>
                  <a:cubicBezTo>
                    <a:pt x="416" y="256"/>
                    <a:pt x="438" y="256"/>
                    <a:pt x="445" y="282"/>
                  </a:cubicBezTo>
                  <a:cubicBezTo>
                    <a:pt x="417" y="285"/>
                    <a:pt x="436" y="335"/>
                    <a:pt x="431" y="364"/>
                  </a:cubicBezTo>
                  <a:cubicBezTo>
                    <a:pt x="398" y="354"/>
                    <a:pt x="423" y="314"/>
                    <a:pt x="400" y="283"/>
                  </a:cubicBezTo>
                  <a:cubicBezTo>
                    <a:pt x="390" y="273"/>
                    <a:pt x="366" y="250"/>
                    <a:pt x="367" y="232"/>
                  </a:cubicBezTo>
                  <a:cubicBezTo>
                    <a:pt x="345" y="236"/>
                    <a:pt x="348" y="272"/>
                    <a:pt x="335" y="289"/>
                  </a:cubicBezTo>
                  <a:lnTo>
                    <a:pt x="330" y="279"/>
                  </a:lnTo>
                  <a:cubicBezTo>
                    <a:pt x="310" y="296"/>
                    <a:pt x="309" y="352"/>
                    <a:pt x="279" y="344"/>
                  </a:cubicBezTo>
                  <a:lnTo>
                    <a:pt x="295" y="349"/>
                  </a:lnTo>
                  <a:cubicBezTo>
                    <a:pt x="295" y="357"/>
                    <a:pt x="281" y="361"/>
                    <a:pt x="286" y="384"/>
                  </a:cubicBezTo>
                  <a:cubicBezTo>
                    <a:pt x="278" y="367"/>
                    <a:pt x="255" y="362"/>
                    <a:pt x="253" y="345"/>
                  </a:cubicBezTo>
                  <a:cubicBezTo>
                    <a:pt x="272" y="402"/>
                    <a:pt x="219" y="406"/>
                    <a:pt x="235" y="461"/>
                  </a:cubicBezTo>
                  <a:cubicBezTo>
                    <a:pt x="221" y="451"/>
                    <a:pt x="214" y="428"/>
                    <a:pt x="210" y="415"/>
                  </a:cubicBezTo>
                  <a:cubicBezTo>
                    <a:pt x="227" y="412"/>
                    <a:pt x="237" y="419"/>
                    <a:pt x="233" y="394"/>
                  </a:cubicBezTo>
                  <a:cubicBezTo>
                    <a:pt x="222" y="402"/>
                    <a:pt x="205" y="394"/>
                    <a:pt x="201" y="381"/>
                  </a:cubicBezTo>
                  <a:cubicBezTo>
                    <a:pt x="207" y="420"/>
                    <a:pt x="185" y="449"/>
                    <a:pt x="197" y="484"/>
                  </a:cubicBezTo>
                  <a:cubicBezTo>
                    <a:pt x="179" y="473"/>
                    <a:pt x="166" y="469"/>
                    <a:pt x="154" y="441"/>
                  </a:cubicBezTo>
                  <a:cubicBezTo>
                    <a:pt x="126" y="479"/>
                    <a:pt x="218" y="512"/>
                    <a:pt x="176" y="535"/>
                  </a:cubicBezTo>
                  <a:cubicBezTo>
                    <a:pt x="143" y="521"/>
                    <a:pt x="175" y="490"/>
                    <a:pt x="144" y="496"/>
                  </a:cubicBezTo>
                  <a:lnTo>
                    <a:pt x="146" y="490"/>
                  </a:lnTo>
                  <a:cubicBezTo>
                    <a:pt x="89" y="433"/>
                    <a:pt x="161" y="546"/>
                    <a:pt x="138" y="556"/>
                  </a:cubicBezTo>
                  <a:cubicBezTo>
                    <a:pt x="114" y="520"/>
                    <a:pt x="138" y="521"/>
                    <a:pt x="108" y="503"/>
                  </a:cubicBezTo>
                  <a:cubicBezTo>
                    <a:pt x="93" y="523"/>
                    <a:pt x="116" y="583"/>
                    <a:pt x="90" y="582"/>
                  </a:cubicBezTo>
                  <a:lnTo>
                    <a:pt x="84" y="565"/>
                  </a:lnTo>
                  <a:cubicBezTo>
                    <a:pt x="73" y="575"/>
                    <a:pt x="44" y="582"/>
                    <a:pt x="33" y="592"/>
                  </a:cubicBezTo>
                  <a:cubicBezTo>
                    <a:pt x="28" y="585"/>
                    <a:pt x="31" y="585"/>
                    <a:pt x="32" y="581"/>
                  </a:cubicBezTo>
                  <a:cubicBezTo>
                    <a:pt x="1" y="581"/>
                    <a:pt x="33" y="606"/>
                    <a:pt x="0" y="591"/>
                  </a:cubicBezTo>
                  <a:lnTo>
                    <a:pt x="4" y="612"/>
                  </a:lnTo>
                  <a:cubicBezTo>
                    <a:pt x="21" y="619"/>
                    <a:pt x="50" y="627"/>
                    <a:pt x="50" y="599"/>
                  </a:cubicBezTo>
                  <a:cubicBezTo>
                    <a:pt x="50" y="627"/>
                    <a:pt x="96" y="635"/>
                    <a:pt x="108" y="670"/>
                  </a:cubicBezTo>
                  <a:lnTo>
                    <a:pt x="103" y="656"/>
                  </a:lnTo>
                  <a:cubicBezTo>
                    <a:pt x="165" y="692"/>
                    <a:pt x="210" y="675"/>
                    <a:pt x="262" y="673"/>
                  </a:cubicBezTo>
                  <a:cubicBezTo>
                    <a:pt x="265" y="621"/>
                    <a:pt x="313" y="663"/>
                    <a:pt x="325" y="622"/>
                  </a:cubicBezTo>
                  <a:cubicBezTo>
                    <a:pt x="305" y="576"/>
                    <a:pt x="325" y="610"/>
                    <a:pt x="344" y="588"/>
                  </a:cubicBezTo>
                  <a:cubicBezTo>
                    <a:pt x="335" y="601"/>
                    <a:pt x="361" y="622"/>
                    <a:pt x="372" y="623"/>
                  </a:cubicBezTo>
                  <a:cubicBezTo>
                    <a:pt x="370" y="610"/>
                    <a:pt x="374" y="602"/>
                    <a:pt x="377" y="595"/>
                  </a:cubicBezTo>
                  <a:cubicBezTo>
                    <a:pt x="390" y="607"/>
                    <a:pt x="439" y="625"/>
                    <a:pt x="433" y="590"/>
                  </a:cubicBezTo>
                  <a:cubicBezTo>
                    <a:pt x="455" y="596"/>
                    <a:pt x="438" y="606"/>
                    <a:pt x="440" y="616"/>
                  </a:cubicBezTo>
                  <a:cubicBezTo>
                    <a:pt x="458" y="635"/>
                    <a:pt x="441" y="592"/>
                    <a:pt x="455" y="604"/>
                  </a:cubicBezTo>
                  <a:cubicBezTo>
                    <a:pt x="455" y="604"/>
                    <a:pt x="457" y="609"/>
                    <a:pt x="457" y="612"/>
                  </a:cubicBezTo>
                  <a:cubicBezTo>
                    <a:pt x="478" y="598"/>
                    <a:pt x="497" y="602"/>
                    <a:pt x="523" y="594"/>
                  </a:cubicBezTo>
                  <a:cubicBezTo>
                    <a:pt x="500" y="551"/>
                    <a:pt x="536" y="566"/>
                    <a:pt x="537" y="545"/>
                  </a:cubicBezTo>
                  <a:cubicBezTo>
                    <a:pt x="542" y="561"/>
                    <a:pt x="559" y="554"/>
                    <a:pt x="570" y="558"/>
                  </a:cubicBezTo>
                  <a:lnTo>
                    <a:pt x="564" y="520"/>
                  </a:lnTo>
                  <a:cubicBezTo>
                    <a:pt x="560" y="486"/>
                    <a:pt x="591" y="529"/>
                    <a:pt x="598" y="506"/>
                  </a:cubicBezTo>
                  <a:lnTo>
                    <a:pt x="590" y="500"/>
                  </a:lnTo>
                  <a:cubicBezTo>
                    <a:pt x="594" y="481"/>
                    <a:pt x="639" y="489"/>
                    <a:pt x="663" y="506"/>
                  </a:cubicBezTo>
                  <a:cubicBezTo>
                    <a:pt x="670" y="488"/>
                    <a:pt x="678" y="474"/>
                    <a:pt x="687" y="463"/>
                  </a:cubicBezTo>
                  <a:cubicBezTo>
                    <a:pt x="690" y="460"/>
                    <a:pt x="692" y="457"/>
                    <a:pt x="694" y="455"/>
                  </a:cubicBezTo>
                  <a:cubicBezTo>
                    <a:pt x="696" y="453"/>
                    <a:pt x="697" y="452"/>
                    <a:pt x="698" y="451"/>
                  </a:cubicBezTo>
                  <a:cubicBezTo>
                    <a:pt x="700" y="448"/>
                    <a:pt x="703" y="446"/>
                    <a:pt x="705" y="444"/>
                  </a:cubicBezTo>
                  <a:cubicBezTo>
                    <a:pt x="717" y="438"/>
                    <a:pt x="730" y="441"/>
                    <a:pt x="741" y="447"/>
                  </a:cubicBezTo>
                  <a:cubicBezTo>
                    <a:pt x="752" y="454"/>
                    <a:pt x="760" y="465"/>
                    <a:pt x="767" y="472"/>
                  </a:cubicBezTo>
                  <a:cubicBezTo>
                    <a:pt x="773" y="480"/>
                    <a:pt x="778" y="483"/>
                    <a:pt x="789" y="472"/>
                  </a:cubicBezTo>
                  <a:cubicBezTo>
                    <a:pt x="797" y="453"/>
                    <a:pt x="796" y="441"/>
                    <a:pt x="807" y="413"/>
                  </a:cubicBezTo>
                  <a:cubicBezTo>
                    <a:pt x="815" y="404"/>
                    <a:pt x="816" y="406"/>
                    <a:pt x="822" y="404"/>
                  </a:cubicBezTo>
                  <a:cubicBezTo>
                    <a:pt x="823" y="388"/>
                    <a:pt x="816" y="409"/>
                    <a:pt x="823" y="391"/>
                  </a:cubicBezTo>
                  <a:cubicBezTo>
                    <a:pt x="823" y="391"/>
                    <a:pt x="819" y="396"/>
                    <a:pt x="815" y="401"/>
                  </a:cubicBezTo>
                  <a:cubicBezTo>
                    <a:pt x="812" y="406"/>
                    <a:pt x="808" y="411"/>
                    <a:pt x="808" y="411"/>
                  </a:cubicBezTo>
                  <a:cubicBezTo>
                    <a:pt x="809" y="407"/>
                    <a:pt x="811" y="405"/>
                    <a:pt x="813" y="396"/>
                  </a:cubicBezTo>
                  <a:cubicBezTo>
                    <a:pt x="808" y="402"/>
                    <a:pt x="802" y="416"/>
                    <a:pt x="799" y="413"/>
                  </a:cubicBezTo>
                  <a:cubicBezTo>
                    <a:pt x="808" y="396"/>
                    <a:pt x="824" y="349"/>
                    <a:pt x="827" y="365"/>
                  </a:cubicBezTo>
                  <a:cubicBezTo>
                    <a:pt x="824" y="371"/>
                    <a:pt x="823" y="374"/>
                    <a:pt x="819" y="378"/>
                  </a:cubicBezTo>
                  <a:cubicBezTo>
                    <a:pt x="825" y="380"/>
                    <a:pt x="833" y="358"/>
                    <a:pt x="834" y="369"/>
                  </a:cubicBezTo>
                  <a:cubicBezTo>
                    <a:pt x="836" y="378"/>
                    <a:pt x="840" y="364"/>
                    <a:pt x="833" y="385"/>
                  </a:cubicBezTo>
                  <a:cubicBezTo>
                    <a:pt x="833" y="385"/>
                    <a:pt x="835" y="390"/>
                    <a:pt x="837" y="396"/>
                  </a:cubicBezTo>
                  <a:cubicBezTo>
                    <a:pt x="838" y="402"/>
                    <a:pt x="839" y="408"/>
                    <a:pt x="839" y="408"/>
                  </a:cubicBezTo>
                  <a:cubicBezTo>
                    <a:pt x="857" y="380"/>
                    <a:pt x="864" y="379"/>
                    <a:pt x="864" y="387"/>
                  </a:cubicBezTo>
                  <a:cubicBezTo>
                    <a:pt x="865" y="394"/>
                    <a:pt x="859" y="409"/>
                    <a:pt x="858" y="412"/>
                  </a:cubicBezTo>
                  <a:cubicBezTo>
                    <a:pt x="844" y="433"/>
                    <a:pt x="840" y="436"/>
                    <a:pt x="836" y="439"/>
                  </a:cubicBezTo>
                  <a:cubicBezTo>
                    <a:pt x="831" y="442"/>
                    <a:pt x="827" y="445"/>
                    <a:pt x="814" y="466"/>
                  </a:cubicBezTo>
                  <a:cubicBezTo>
                    <a:pt x="814" y="466"/>
                    <a:pt x="811" y="474"/>
                    <a:pt x="808" y="482"/>
                  </a:cubicBezTo>
                  <a:cubicBezTo>
                    <a:pt x="804" y="490"/>
                    <a:pt x="800" y="498"/>
                    <a:pt x="800" y="498"/>
                  </a:cubicBezTo>
                  <a:lnTo>
                    <a:pt x="820" y="463"/>
                  </a:lnTo>
                  <a:cubicBezTo>
                    <a:pt x="820" y="463"/>
                    <a:pt x="820" y="466"/>
                    <a:pt x="820" y="468"/>
                  </a:cubicBezTo>
                  <a:cubicBezTo>
                    <a:pt x="820" y="471"/>
                    <a:pt x="820" y="473"/>
                    <a:pt x="820" y="473"/>
                  </a:cubicBezTo>
                  <a:lnTo>
                    <a:pt x="815" y="480"/>
                  </a:lnTo>
                  <a:cubicBezTo>
                    <a:pt x="824" y="467"/>
                    <a:pt x="833" y="454"/>
                    <a:pt x="827" y="466"/>
                  </a:cubicBezTo>
                  <a:cubicBezTo>
                    <a:pt x="824" y="470"/>
                    <a:pt x="819" y="480"/>
                    <a:pt x="817" y="481"/>
                  </a:cubicBezTo>
                  <a:cubicBezTo>
                    <a:pt x="817" y="481"/>
                    <a:pt x="821" y="477"/>
                    <a:pt x="825" y="473"/>
                  </a:cubicBezTo>
                  <a:cubicBezTo>
                    <a:pt x="829" y="468"/>
                    <a:pt x="833" y="464"/>
                    <a:pt x="833" y="464"/>
                  </a:cubicBezTo>
                  <a:cubicBezTo>
                    <a:pt x="807" y="498"/>
                    <a:pt x="829" y="475"/>
                    <a:pt x="799" y="514"/>
                  </a:cubicBezTo>
                  <a:cubicBezTo>
                    <a:pt x="797" y="520"/>
                    <a:pt x="799" y="520"/>
                    <a:pt x="803" y="517"/>
                  </a:cubicBezTo>
                  <a:cubicBezTo>
                    <a:pt x="804" y="516"/>
                    <a:pt x="807" y="514"/>
                    <a:pt x="809" y="512"/>
                  </a:cubicBezTo>
                  <a:cubicBezTo>
                    <a:pt x="811" y="510"/>
                    <a:pt x="813" y="508"/>
                    <a:pt x="815" y="507"/>
                  </a:cubicBezTo>
                  <a:cubicBezTo>
                    <a:pt x="823" y="500"/>
                    <a:pt x="826" y="501"/>
                    <a:pt x="804" y="526"/>
                  </a:cubicBezTo>
                  <a:cubicBezTo>
                    <a:pt x="812" y="518"/>
                    <a:pt x="825" y="506"/>
                    <a:pt x="835" y="497"/>
                  </a:cubicBezTo>
                  <a:cubicBezTo>
                    <a:pt x="845" y="489"/>
                    <a:pt x="852" y="484"/>
                    <a:pt x="849" y="489"/>
                  </a:cubicBezTo>
                  <a:cubicBezTo>
                    <a:pt x="841" y="498"/>
                    <a:pt x="834" y="505"/>
                    <a:pt x="821" y="515"/>
                  </a:cubicBezTo>
                  <a:cubicBezTo>
                    <a:pt x="821" y="515"/>
                    <a:pt x="825" y="512"/>
                    <a:pt x="830" y="509"/>
                  </a:cubicBezTo>
                  <a:cubicBezTo>
                    <a:pt x="834" y="507"/>
                    <a:pt x="838" y="504"/>
                    <a:pt x="838" y="504"/>
                  </a:cubicBezTo>
                  <a:cubicBezTo>
                    <a:pt x="812" y="528"/>
                    <a:pt x="808" y="532"/>
                    <a:pt x="807" y="534"/>
                  </a:cubicBezTo>
                  <a:cubicBezTo>
                    <a:pt x="807" y="536"/>
                    <a:pt x="810" y="536"/>
                    <a:pt x="802" y="543"/>
                  </a:cubicBezTo>
                  <a:lnTo>
                    <a:pt x="788" y="552"/>
                  </a:lnTo>
                  <a:cubicBezTo>
                    <a:pt x="804" y="543"/>
                    <a:pt x="817" y="538"/>
                    <a:pt x="812" y="544"/>
                  </a:cubicBezTo>
                  <a:lnTo>
                    <a:pt x="784" y="557"/>
                  </a:lnTo>
                  <a:cubicBezTo>
                    <a:pt x="774" y="562"/>
                    <a:pt x="789" y="556"/>
                    <a:pt x="804" y="550"/>
                  </a:cubicBezTo>
                  <a:cubicBezTo>
                    <a:pt x="818" y="544"/>
                    <a:pt x="833" y="540"/>
                    <a:pt x="824" y="546"/>
                  </a:cubicBezTo>
                  <a:cubicBezTo>
                    <a:pt x="854" y="535"/>
                    <a:pt x="870" y="525"/>
                    <a:pt x="898" y="511"/>
                  </a:cubicBezTo>
                  <a:cubicBezTo>
                    <a:pt x="868" y="527"/>
                    <a:pt x="863" y="536"/>
                    <a:pt x="884" y="527"/>
                  </a:cubicBezTo>
                  <a:cubicBezTo>
                    <a:pt x="896" y="533"/>
                    <a:pt x="883" y="534"/>
                    <a:pt x="876" y="537"/>
                  </a:cubicBezTo>
                  <a:cubicBezTo>
                    <a:pt x="876" y="537"/>
                    <a:pt x="880" y="537"/>
                    <a:pt x="885" y="537"/>
                  </a:cubicBezTo>
                  <a:cubicBezTo>
                    <a:pt x="889" y="538"/>
                    <a:pt x="894" y="538"/>
                    <a:pt x="894" y="538"/>
                  </a:cubicBezTo>
                  <a:cubicBezTo>
                    <a:pt x="892" y="546"/>
                    <a:pt x="855" y="548"/>
                    <a:pt x="838" y="551"/>
                  </a:cubicBezTo>
                  <a:cubicBezTo>
                    <a:pt x="854" y="549"/>
                    <a:pt x="856" y="551"/>
                    <a:pt x="854" y="554"/>
                  </a:cubicBezTo>
                  <a:cubicBezTo>
                    <a:pt x="851" y="557"/>
                    <a:pt x="844" y="561"/>
                    <a:pt x="842" y="563"/>
                  </a:cubicBezTo>
                  <a:cubicBezTo>
                    <a:pt x="842" y="563"/>
                    <a:pt x="838" y="563"/>
                    <a:pt x="835" y="563"/>
                  </a:cubicBezTo>
                  <a:cubicBezTo>
                    <a:pt x="832" y="563"/>
                    <a:pt x="829" y="562"/>
                    <a:pt x="829" y="562"/>
                  </a:cubicBezTo>
                  <a:cubicBezTo>
                    <a:pt x="829" y="562"/>
                    <a:pt x="827" y="564"/>
                    <a:pt x="826" y="565"/>
                  </a:cubicBezTo>
                  <a:cubicBezTo>
                    <a:pt x="824" y="567"/>
                    <a:pt x="823" y="568"/>
                    <a:pt x="823" y="568"/>
                  </a:cubicBezTo>
                  <a:cubicBezTo>
                    <a:pt x="829" y="569"/>
                    <a:pt x="833" y="570"/>
                    <a:pt x="836" y="571"/>
                  </a:cubicBezTo>
                  <a:cubicBezTo>
                    <a:pt x="839" y="572"/>
                    <a:pt x="841" y="572"/>
                    <a:pt x="842" y="578"/>
                  </a:cubicBezTo>
                  <a:cubicBezTo>
                    <a:pt x="843" y="586"/>
                    <a:pt x="840" y="595"/>
                    <a:pt x="833" y="604"/>
                  </a:cubicBezTo>
                  <a:lnTo>
                    <a:pt x="796" y="590"/>
                  </a:lnTo>
                  <a:cubicBezTo>
                    <a:pt x="775" y="601"/>
                    <a:pt x="809" y="597"/>
                    <a:pt x="815" y="600"/>
                  </a:cubicBezTo>
                  <a:cubicBezTo>
                    <a:pt x="833" y="620"/>
                    <a:pt x="806" y="623"/>
                    <a:pt x="784" y="632"/>
                  </a:cubicBezTo>
                  <a:cubicBezTo>
                    <a:pt x="823" y="665"/>
                    <a:pt x="718" y="690"/>
                    <a:pt x="775" y="71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18">
              <a:extLst>
                <a:ext uri="{FF2B5EF4-FFF2-40B4-BE49-F238E27FC236}">
                  <a16:creationId xmlns:a16="http://schemas.microsoft.com/office/drawing/2014/main" id="{EDD4532C-9319-4ABA-A711-41005AD5F93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2" y="795"/>
              <a:ext cx="0" cy="1"/>
            </a:xfrm>
            <a:custGeom>
              <a:avLst/>
              <a:gdLst>
                <a:gd name="T0" fmla="*/ 1 w 1"/>
                <a:gd name="T1" fmla="*/ 5 h 5"/>
                <a:gd name="T2" fmla="*/ 1 w 1"/>
                <a:gd name="T3" fmla="*/ 5 h 5"/>
                <a:gd name="T4" fmla="*/ 0 w 1"/>
                <a:gd name="T5" fmla="*/ 0 h 5"/>
                <a:gd name="T6" fmla="*/ 1 w 1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5">
                  <a:moveTo>
                    <a:pt x="1" y="5"/>
                  </a:moveTo>
                  <a:lnTo>
                    <a:pt x="1" y="5"/>
                  </a:lnTo>
                  <a:cubicBezTo>
                    <a:pt x="1" y="3"/>
                    <a:pt x="1" y="1"/>
                    <a:pt x="0" y="0"/>
                  </a:cubicBezTo>
                  <a:cubicBezTo>
                    <a:pt x="0" y="1"/>
                    <a:pt x="1" y="3"/>
                    <a:pt x="1" y="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119">
              <a:extLst>
                <a:ext uri="{FF2B5EF4-FFF2-40B4-BE49-F238E27FC236}">
                  <a16:creationId xmlns:a16="http://schemas.microsoft.com/office/drawing/2014/main" id="{79693D8C-D562-4284-9090-A5790D01FFE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1" y="755"/>
              <a:ext cx="3" cy="3"/>
            </a:xfrm>
            <a:custGeom>
              <a:avLst/>
              <a:gdLst>
                <a:gd name="T0" fmla="*/ 14 w 14"/>
                <a:gd name="T1" fmla="*/ 1 h 13"/>
                <a:gd name="T2" fmla="*/ 14 w 14"/>
                <a:gd name="T3" fmla="*/ 1 h 13"/>
                <a:gd name="T4" fmla="*/ 0 w 14"/>
                <a:gd name="T5" fmla="*/ 13 h 13"/>
                <a:gd name="T6" fmla="*/ 14 w 14"/>
                <a:gd name="T7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3">
                  <a:moveTo>
                    <a:pt x="14" y="1"/>
                  </a:moveTo>
                  <a:lnTo>
                    <a:pt x="14" y="1"/>
                  </a:lnTo>
                  <a:cubicBezTo>
                    <a:pt x="11" y="0"/>
                    <a:pt x="6" y="6"/>
                    <a:pt x="0" y="13"/>
                  </a:cubicBezTo>
                  <a:cubicBezTo>
                    <a:pt x="6" y="11"/>
                    <a:pt x="12" y="8"/>
                    <a:pt x="14" y="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20">
              <a:extLst>
                <a:ext uri="{FF2B5EF4-FFF2-40B4-BE49-F238E27FC236}">
                  <a16:creationId xmlns:a16="http://schemas.microsoft.com/office/drawing/2014/main" id="{A65687F6-70BF-4610-9548-B2FC84E560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545" y="1231"/>
              <a:ext cx="13" cy="9"/>
            </a:xfrm>
            <a:custGeom>
              <a:avLst/>
              <a:gdLst>
                <a:gd name="T0" fmla="*/ 20 w 66"/>
                <a:gd name="T1" fmla="*/ 21 h 49"/>
                <a:gd name="T2" fmla="*/ 20 w 66"/>
                <a:gd name="T3" fmla="*/ 21 h 49"/>
                <a:gd name="T4" fmla="*/ 14 w 66"/>
                <a:gd name="T5" fmla="*/ 15 h 49"/>
                <a:gd name="T6" fmla="*/ 0 w 66"/>
                <a:gd name="T7" fmla="*/ 28 h 49"/>
                <a:gd name="T8" fmla="*/ 66 w 66"/>
                <a:gd name="T9" fmla="*/ 49 h 49"/>
                <a:gd name="T10" fmla="*/ 44 w 66"/>
                <a:gd name="T11" fmla="*/ 0 h 49"/>
                <a:gd name="T12" fmla="*/ 20 w 66"/>
                <a:gd name="T13" fmla="*/ 2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49">
                  <a:moveTo>
                    <a:pt x="20" y="21"/>
                  </a:moveTo>
                  <a:lnTo>
                    <a:pt x="20" y="21"/>
                  </a:lnTo>
                  <a:lnTo>
                    <a:pt x="14" y="15"/>
                  </a:lnTo>
                  <a:lnTo>
                    <a:pt x="0" y="28"/>
                  </a:lnTo>
                  <a:cubicBezTo>
                    <a:pt x="18" y="46"/>
                    <a:pt x="40" y="46"/>
                    <a:pt x="66" y="49"/>
                  </a:cubicBezTo>
                  <a:cubicBezTo>
                    <a:pt x="41" y="33"/>
                    <a:pt x="53" y="22"/>
                    <a:pt x="44" y="0"/>
                  </a:cubicBezTo>
                  <a:lnTo>
                    <a:pt x="20" y="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21">
              <a:extLst>
                <a:ext uri="{FF2B5EF4-FFF2-40B4-BE49-F238E27FC236}">
                  <a16:creationId xmlns:a16="http://schemas.microsoft.com/office/drawing/2014/main" id="{BEEEAD06-DBE0-4488-BDCA-71678B3F6AE1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2" y="1229"/>
              <a:ext cx="5" cy="2"/>
            </a:xfrm>
            <a:custGeom>
              <a:avLst/>
              <a:gdLst>
                <a:gd name="T0" fmla="*/ 0 w 25"/>
                <a:gd name="T1" fmla="*/ 13 h 13"/>
                <a:gd name="T2" fmla="*/ 0 w 25"/>
                <a:gd name="T3" fmla="*/ 13 h 13"/>
                <a:gd name="T4" fmla="*/ 25 w 25"/>
                <a:gd name="T5" fmla="*/ 2 h 13"/>
                <a:gd name="T6" fmla="*/ 9 w 25"/>
                <a:gd name="T7" fmla="*/ 0 h 13"/>
                <a:gd name="T8" fmla="*/ 0 w 25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3">
                  <a:moveTo>
                    <a:pt x="0" y="13"/>
                  </a:moveTo>
                  <a:lnTo>
                    <a:pt x="0" y="13"/>
                  </a:lnTo>
                  <a:cubicBezTo>
                    <a:pt x="6" y="10"/>
                    <a:pt x="23" y="5"/>
                    <a:pt x="25" y="2"/>
                  </a:cubicBezTo>
                  <a:lnTo>
                    <a:pt x="9" y="0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122">
              <a:extLst>
                <a:ext uri="{FF2B5EF4-FFF2-40B4-BE49-F238E27FC236}">
                  <a16:creationId xmlns:a16="http://schemas.microsoft.com/office/drawing/2014/main" id="{293283E1-C0AB-4080-93E6-9A661184D18C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2" y="1186"/>
              <a:ext cx="7" cy="4"/>
            </a:xfrm>
            <a:custGeom>
              <a:avLst/>
              <a:gdLst>
                <a:gd name="T0" fmla="*/ 12 w 37"/>
                <a:gd name="T1" fmla="*/ 0 h 24"/>
                <a:gd name="T2" fmla="*/ 12 w 37"/>
                <a:gd name="T3" fmla="*/ 0 h 24"/>
                <a:gd name="T4" fmla="*/ 0 w 37"/>
                <a:gd name="T5" fmla="*/ 19 h 24"/>
                <a:gd name="T6" fmla="*/ 12 w 37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4">
                  <a:moveTo>
                    <a:pt x="12" y="0"/>
                  </a:moveTo>
                  <a:lnTo>
                    <a:pt x="12" y="0"/>
                  </a:lnTo>
                  <a:lnTo>
                    <a:pt x="0" y="19"/>
                  </a:lnTo>
                  <a:cubicBezTo>
                    <a:pt x="14" y="24"/>
                    <a:pt x="37" y="2"/>
                    <a:pt x="1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123">
              <a:extLst>
                <a:ext uri="{FF2B5EF4-FFF2-40B4-BE49-F238E27FC236}">
                  <a16:creationId xmlns:a16="http://schemas.microsoft.com/office/drawing/2014/main" id="{5B889431-40C4-43F3-89BF-8B8A31525F4F}"/>
                </a:ext>
              </a:extLst>
            </p:cNvPr>
            <p:cNvSpPr>
              <a:spLocks/>
            </p:cNvSpPr>
            <p:nvPr/>
          </p:nvSpPr>
          <p:spPr bwMode="gray">
            <a:xfrm>
              <a:off x="1542" y="1202"/>
              <a:ext cx="6" cy="4"/>
            </a:xfrm>
            <a:custGeom>
              <a:avLst/>
              <a:gdLst>
                <a:gd name="T0" fmla="*/ 0 w 31"/>
                <a:gd name="T1" fmla="*/ 13 h 22"/>
                <a:gd name="T2" fmla="*/ 0 w 31"/>
                <a:gd name="T3" fmla="*/ 13 h 22"/>
                <a:gd name="T4" fmla="*/ 18 w 31"/>
                <a:gd name="T5" fmla="*/ 22 h 22"/>
                <a:gd name="T6" fmla="*/ 10 w 31"/>
                <a:gd name="T7" fmla="*/ 0 h 22"/>
                <a:gd name="T8" fmla="*/ 0 w 31"/>
                <a:gd name="T9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2">
                  <a:moveTo>
                    <a:pt x="0" y="13"/>
                  </a:moveTo>
                  <a:lnTo>
                    <a:pt x="0" y="13"/>
                  </a:lnTo>
                  <a:lnTo>
                    <a:pt x="18" y="22"/>
                  </a:lnTo>
                  <a:cubicBezTo>
                    <a:pt x="31" y="12"/>
                    <a:pt x="29" y="1"/>
                    <a:pt x="10" y="0"/>
                  </a:cubicBezTo>
                  <a:cubicBezTo>
                    <a:pt x="21" y="11"/>
                    <a:pt x="0" y="3"/>
                    <a:pt x="0" y="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124">
              <a:extLst>
                <a:ext uri="{FF2B5EF4-FFF2-40B4-BE49-F238E27FC236}">
                  <a16:creationId xmlns:a16="http://schemas.microsoft.com/office/drawing/2014/main" id="{1ABF623A-DD26-4076-9C52-2273AEDC3F9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8" y="1172"/>
              <a:ext cx="9" cy="4"/>
            </a:xfrm>
            <a:custGeom>
              <a:avLst/>
              <a:gdLst>
                <a:gd name="T0" fmla="*/ 31 w 44"/>
                <a:gd name="T1" fmla="*/ 22 h 22"/>
                <a:gd name="T2" fmla="*/ 31 w 44"/>
                <a:gd name="T3" fmla="*/ 22 h 22"/>
                <a:gd name="T4" fmla="*/ 15 w 44"/>
                <a:gd name="T5" fmla="*/ 0 h 22"/>
                <a:gd name="T6" fmla="*/ 31 w 44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31" y="22"/>
                  </a:moveTo>
                  <a:lnTo>
                    <a:pt x="31" y="22"/>
                  </a:lnTo>
                  <a:cubicBezTo>
                    <a:pt x="0" y="17"/>
                    <a:pt x="44" y="3"/>
                    <a:pt x="15" y="0"/>
                  </a:cubicBezTo>
                  <a:cubicBezTo>
                    <a:pt x="24" y="5"/>
                    <a:pt x="0" y="22"/>
                    <a:pt x="31" y="2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25">
              <a:extLst>
                <a:ext uri="{FF2B5EF4-FFF2-40B4-BE49-F238E27FC236}">
                  <a16:creationId xmlns:a16="http://schemas.microsoft.com/office/drawing/2014/main" id="{70B9666C-267F-46AF-90B3-90766D1FF69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2" y="1182"/>
              <a:ext cx="10" cy="5"/>
            </a:xfrm>
            <a:custGeom>
              <a:avLst/>
              <a:gdLst>
                <a:gd name="T0" fmla="*/ 29 w 50"/>
                <a:gd name="T1" fmla="*/ 0 h 28"/>
                <a:gd name="T2" fmla="*/ 29 w 50"/>
                <a:gd name="T3" fmla="*/ 0 h 28"/>
                <a:gd name="T4" fmla="*/ 20 w 50"/>
                <a:gd name="T5" fmla="*/ 28 h 28"/>
                <a:gd name="T6" fmla="*/ 29 w 5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28">
                  <a:moveTo>
                    <a:pt x="29" y="0"/>
                  </a:moveTo>
                  <a:lnTo>
                    <a:pt x="29" y="0"/>
                  </a:lnTo>
                  <a:cubicBezTo>
                    <a:pt x="0" y="7"/>
                    <a:pt x="27" y="15"/>
                    <a:pt x="20" y="28"/>
                  </a:cubicBezTo>
                  <a:cubicBezTo>
                    <a:pt x="20" y="18"/>
                    <a:pt x="50" y="3"/>
                    <a:pt x="2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26">
              <a:extLst>
                <a:ext uri="{FF2B5EF4-FFF2-40B4-BE49-F238E27FC236}">
                  <a16:creationId xmlns:a16="http://schemas.microsoft.com/office/drawing/2014/main" id="{7B9212D3-04E9-44FB-9CFB-36AB7962F742}"/>
                </a:ext>
              </a:extLst>
            </p:cNvPr>
            <p:cNvSpPr>
              <a:spLocks/>
            </p:cNvSpPr>
            <p:nvPr/>
          </p:nvSpPr>
          <p:spPr bwMode="gray">
            <a:xfrm>
              <a:off x="1576" y="1156"/>
              <a:ext cx="15" cy="9"/>
            </a:xfrm>
            <a:custGeom>
              <a:avLst/>
              <a:gdLst>
                <a:gd name="T0" fmla="*/ 5 w 78"/>
                <a:gd name="T1" fmla="*/ 12 h 47"/>
                <a:gd name="T2" fmla="*/ 5 w 78"/>
                <a:gd name="T3" fmla="*/ 12 h 47"/>
                <a:gd name="T4" fmla="*/ 21 w 78"/>
                <a:gd name="T5" fmla="*/ 29 h 47"/>
                <a:gd name="T6" fmla="*/ 0 w 78"/>
                <a:gd name="T7" fmla="*/ 21 h 47"/>
                <a:gd name="T8" fmla="*/ 26 w 78"/>
                <a:gd name="T9" fmla="*/ 47 h 47"/>
                <a:gd name="T10" fmla="*/ 78 w 78"/>
                <a:gd name="T11" fmla="*/ 17 h 47"/>
                <a:gd name="T12" fmla="*/ 5 w 78"/>
                <a:gd name="T13" fmla="*/ 1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47">
                  <a:moveTo>
                    <a:pt x="5" y="12"/>
                  </a:moveTo>
                  <a:lnTo>
                    <a:pt x="5" y="12"/>
                  </a:lnTo>
                  <a:cubicBezTo>
                    <a:pt x="27" y="12"/>
                    <a:pt x="26" y="20"/>
                    <a:pt x="21" y="29"/>
                  </a:cubicBezTo>
                  <a:cubicBezTo>
                    <a:pt x="14" y="26"/>
                    <a:pt x="4" y="25"/>
                    <a:pt x="0" y="21"/>
                  </a:cubicBezTo>
                  <a:cubicBezTo>
                    <a:pt x="18" y="35"/>
                    <a:pt x="15" y="36"/>
                    <a:pt x="26" y="47"/>
                  </a:cubicBezTo>
                  <a:cubicBezTo>
                    <a:pt x="41" y="35"/>
                    <a:pt x="50" y="17"/>
                    <a:pt x="78" y="17"/>
                  </a:cubicBezTo>
                  <a:cubicBezTo>
                    <a:pt x="57" y="10"/>
                    <a:pt x="25" y="0"/>
                    <a:pt x="5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27">
              <a:extLst>
                <a:ext uri="{FF2B5EF4-FFF2-40B4-BE49-F238E27FC236}">
                  <a16:creationId xmlns:a16="http://schemas.microsoft.com/office/drawing/2014/main" id="{38CA8827-AA36-42EB-BAA4-961C8520B7E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1" y="1176"/>
              <a:ext cx="16" cy="6"/>
            </a:xfrm>
            <a:custGeom>
              <a:avLst/>
              <a:gdLst>
                <a:gd name="T0" fmla="*/ 28 w 80"/>
                <a:gd name="T1" fmla="*/ 2 h 31"/>
                <a:gd name="T2" fmla="*/ 28 w 80"/>
                <a:gd name="T3" fmla="*/ 2 h 31"/>
                <a:gd name="T4" fmla="*/ 2 w 80"/>
                <a:gd name="T5" fmla="*/ 31 h 31"/>
                <a:gd name="T6" fmla="*/ 36 w 80"/>
                <a:gd name="T7" fmla="*/ 10 h 31"/>
                <a:gd name="T8" fmla="*/ 62 w 80"/>
                <a:gd name="T9" fmla="*/ 14 h 31"/>
                <a:gd name="T10" fmla="*/ 28 w 80"/>
                <a:gd name="T11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1">
                  <a:moveTo>
                    <a:pt x="28" y="2"/>
                  </a:moveTo>
                  <a:lnTo>
                    <a:pt x="28" y="2"/>
                  </a:lnTo>
                  <a:cubicBezTo>
                    <a:pt x="20" y="13"/>
                    <a:pt x="0" y="19"/>
                    <a:pt x="2" y="31"/>
                  </a:cubicBezTo>
                  <a:cubicBezTo>
                    <a:pt x="18" y="28"/>
                    <a:pt x="40" y="23"/>
                    <a:pt x="36" y="10"/>
                  </a:cubicBezTo>
                  <a:lnTo>
                    <a:pt x="62" y="14"/>
                  </a:lnTo>
                  <a:cubicBezTo>
                    <a:pt x="80" y="0"/>
                    <a:pt x="28" y="20"/>
                    <a:pt x="28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28">
              <a:extLst>
                <a:ext uri="{FF2B5EF4-FFF2-40B4-BE49-F238E27FC236}">
                  <a16:creationId xmlns:a16="http://schemas.microsoft.com/office/drawing/2014/main" id="{E17E0D44-C070-442A-92D2-62695045390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5" y="1147"/>
              <a:ext cx="9" cy="9"/>
            </a:xfrm>
            <a:custGeom>
              <a:avLst/>
              <a:gdLst>
                <a:gd name="T0" fmla="*/ 12 w 45"/>
                <a:gd name="T1" fmla="*/ 0 h 43"/>
                <a:gd name="T2" fmla="*/ 12 w 45"/>
                <a:gd name="T3" fmla="*/ 0 h 43"/>
                <a:gd name="T4" fmla="*/ 0 w 45"/>
                <a:gd name="T5" fmla="*/ 6 h 43"/>
                <a:gd name="T6" fmla="*/ 45 w 45"/>
                <a:gd name="T7" fmla="*/ 43 h 43"/>
                <a:gd name="T8" fmla="*/ 12 w 45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3">
                  <a:moveTo>
                    <a:pt x="12" y="0"/>
                  </a:moveTo>
                  <a:lnTo>
                    <a:pt x="12" y="0"/>
                  </a:lnTo>
                  <a:lnTo>
                    <a:pt x="0" y="6"/>
                  </a:lnTo>
                  <a:cubicBezTo>
                    <a:pt x="21" y="19"/>
                    <a:pt x="12" y="37"/>
                    <a:pt x="45" y="43"/>
                  </a:cubicBezTo>
                  <a:cubicBezTo>
                    <a:pt x="42" y="27"/>
                    <a:pt x="27" y="7"/>
                    <a:pt x="1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29">
              <a:extLst>
                <a:ext uri="{FF2B5EF4-FFF2-40B4-BE49-F238E27FC236}">
                  <a16:creationId xmlns:a16="http://schemas.microsoft.com/office/drawing/2014/main" id="{4A3596A9-1101-42CC-843C-2659AD30E600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8" y="1166"/>
              <a:ext cx="10" cy="3"/>
            </a:xfrm>
            <a:custGeom>
              <a:avLst/>
              <a:gdLst>
                <a:gd name="T0" fmla="*/ 40 w 53"/>
                <a:gd name="T1" fmla="*/ 2 h 18"/>
                <a:gd name="T2" fmla="*/ 40 w 53"/>
                <a:gd name="T3" fmla="*/ 2 h 18"/>
                <a:gd name="T4" fmla="*/ 4 w 53"/>
                <a:gd name="T5" fmla="*/ 2 h 18"/>
                <a:gd name="T6" fmla="*/ 25 w 53"/>
                <a:gd name="T7" fmla="*/ 5 h 18"/>
                <a:gd name="T8" fmla="*/ 24 w 53"/>
                <a:gd name="T9" fmla="*/ 18 h 18"/>
                <a:gd name="T10" fmla="*/ 40 w 53"/>
                <a:gd name="T1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18">
                  <a:moveTo>
                    <a:pt x="40" y="2"/>
                  </a:moveTo>
                  <a:lnTo>
                    <a:pt x="40" y="2"/>
                  </a:lnTo>
                  <a:lnTo>
                    <a:pt x="4" y="2"/>
                  </a:lnTo>
                  <a:cubicBezTo>
                    <a:pt x="0" y="16"/>
                    <a:pt x="16" y="0"/>
                    <a:pt x="25" y="5"/>
                  </a:cubicBezTo>
                  <a:cubicBezTo>
                    <a:pt x="20" y="9"/>
                    <a:pt x="17" y="15"/>
                    <a:pt x="24" y="18"/>
                  </a:cubicBezTo>
                  <a:cubicBezTo>
                    <a:pt x="18" y="2"/>
                    <a:pt x="53" y="15"/>
                    <a:pt x="40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30">
              <a:extLst>
                <a:ext uri="{FF2B5EF4-FFF2-40B4-BE49-F238E27FC236}">
                  <a16:creationId xmlns:a16="http://schemas.microsoft.com/office/drawing/2014/main" id="{16C2F82D-A692-4BDF-85C4-33B0521C05A1}"/>
                </a:ext>
              </a:extLst>
            </p:cNvPr>
            <p:cNvSpPr>
              <a:spLocks/>
            </p:cNvSpPr>
            <p:nvPr/>
          </p:nvSpPr>
          <p:spPr bwMode="gray">
            <a:xfrm>
              <a:off x="1527" y="1155"/>
              <a:ext cx="10" cy="7"/>
            </a:xfrm>
            <a:custGeom>
              <a:avLst/>
              <a:gdLst>
                <a:gd name="T0" fmla="*/ 55 w 55"/>
                <a:gd name="T1" fmla="*/ 17 h 36"/>
                <a:gd name="T2" fmla="*/ 55 w 55"/>
                <a:gd name="T3" fmla="*/ 17 h 36"/>
                <a:gd name="T4" fmla="*/ 39 w 55"/>
                <a:gd name="T5" fmla="*/ 0 h 36"/>
                <a:gd name="T6" fmla="*/ 0 w 55"/>
                <a:gd name="T7" fmla="*/ 16 h 36"/>
                <a:gd name="T8" fmla="*/ 55 w 55"/>
                <a:gd name="T9" fmla="*/ 1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36">
                  <a:moveTo>
                    <a:pt x="55" y="17"/>
                  </a:moveTo>
                  <a:lnTo>
                    <a:pt x="55" y="17"/>
                  </a:lnTo>
                  <a:lnTo>
                    <a:pt x="39" y="0"/>
                  </a:lnTo>
                  <a:lnTo>
                    <a:pt x="0" y="16"/>
                  </a:lnTo>
                  <a:cubicBezTo>
                    <a:pt x="15" y="36"/>
                    <a:pt x="23" y="16"/>
                    <a:pt x="55" y="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31">
              <a:extLst>
                <a:ext uri="{FF2B5EF4-FFF2-40B4-BE49-F238E27FC236}">
                  <a16:creationId xmlns:a16="http://schemas.microsoft.com/office/drawing/2014/main" id="{CC8B10FB-802D-4104-807A-199873F47B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3" y="1149"/>
              <a:ext cx="10" cy="5"/>
            </a:xfrm>
            <a:custGeom>
              <a:avLst/>
              <a:gdLst>
                <a:gd name="T0" fmla="*/ 48 w 54"/>
                <a:gd name="T1" fmla="*/ 26 h 26"/>
                <a:gd name="T2" fmla="*/ 48 w 54"/>
                <a:gd name="T3" fmla="*/ 26 h 26"/>
                <a:gd name="T4" fmla="*/ 54 w 54"/>
                <a:gd name="T5" fmla="*/ 24 h 26"/>
                <a:gd name="T6" fmla="*/ 0 w 54"/>
                <a:gd name="T7" fmla="*/ 0 h 26"/>
                <a:gd name="T8" fmla="*/ 48 w 54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26">
                  <a:moveTo>
                    <a:pt x="48" y="26"/>
                  </a:moveTo>
                  <a:lnTo>
                    <a:pt x="48" y="26"/>
                  </a:lnTo>
                  <a:lnTo>
                    <a:pt x="54" y="24"/>
                  </a:lnTo>
                  <a:lnTo>
                    <a:pt x="0" y="0"/>
                  </a:lnTo>
                  <a:cubicBezTo>
                    <a:pt x="23" y="15"/>
                    <a:pt x="20" y="16"/>
                    <a:pt x="48" y="2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32">
              <a:extLst>
                <a:ext uri="{FF2B5EF4-FFF2-40B4-BE49-F238E27FC236}">
                  <a16:creationId xmlns:a16="http://schemas.microsoft.com/office/drawing/2014/main" id="{F85BAB0D-166C-42F4-AF90-6275D2C199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79" y="1088"/>
              <a:ext cx="9" cy="5"/>
            </a:xfrm>
            <a:custGeom>
              <a:avLst/>
              <a:gdLst>
                <a:gd name="T0" fmla="*/ 35 w 50"/>
                <a:gd name="T1" fmla="*/ 12 h 25"/>
                <a:gd name="T2" fmla="*/ 35 w 50"/>
                <a:gd name="T3" fmla="*/ 12 h 25"/>
                <a:gd name="T4" fmla="*/ 17 w 50"/>
                <a:gd name="T5" fmla="*/ 18 h 25"/>
                <a:gd name="T6" fmla="*/ 35 w 50"/>
                <a:gd name="T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25">
                  <a:moveTo>
                    <a:pt x="35" y="12"/>
                  </a:moveTo>
                  <a:lnTo>
                    <a:pt x="35" y="12"/>
                  </a:lnTo>
                  <a:cubicBezTo>
                    <a:pt x="19" y="9"/>
                    <a:pt x="0" y="25"/>
                    <a:pt x="17" y="18"/>
                  </a:cubicBezTo>
                  <a:cubicBezTo>
                    <a:pt x="30" y="21"/>
                    <a:pt x="50" y="0"/>
                    <a:pt x="35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33">
              <a:extLst>
                <a:ext uri="{FF2B5EF4-FFF2-40B4-BE49-F238E27FC236}">
                  <a16:creationId xmlns:a16="http://schemas.microsoft.com/office/drawing/2014/main" id="{8D173BF2-B9C4-4C18-868B-95E8A6B702F1}"/>
                </a:ext>
              </a:extLst>
            </p:cNvPr>
            <p:cNvSpPr>
              <a:spLocks/>
            </p:cNvSpPr>
            <p:nvPr/>
          </p:nvSpPr>
          <p:spPr bwMode="gray">
            <a:xfrm>
              <a:off x="1525" y="1096"/>
              <a:ext cx="7" cy="9"/>
            </a:xfrm>
            <a:custGeom>
              <a:avLst/>
              <a:gdLst>
                <a:gd name="T0" fmla="*/ 23 w 34"/>
                <a:gd name="T1" fmla="*/ 42 h 45"/>
                <a:gd name="T2" fmla="*/ 23 w 34"/>
                <a:gd name="T3" fmla="*/ 42 h 45"/>
                <a:gd name="T4" fmla="*/ 0 w 34"/>
                <a:gd name="T5" fmla="*/ 0 h 45"/>
                <a:gd name="T6" fmla="*/ 23 w 34"/>
                <a:gd name="T7" fmla="*/ 4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5">
                  <a:moveTo>
                    <a:pt x="23" y="42"/>
                  </a:moveTo>
                  <a:lnTo>
                    <a:pt x="23" y="42"/>
                  </a:lnTo>
                  <a:cubicBezTo>
                    <a:pt x="34" y="34"/>
                    <a:pt x="11" y="10"/>
                    <a:pt x="0" y="0"/>
                  </a:cubicBezTo>
                  <a:cubicBezTo>
                    <a:pt x="8" y="13"/>
                    <a:pt x="2" y="45"/>
                    <a:pt x="23" y="4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34">
              <a:extLst>
                <a:ext uri="{FF2B5EF4-FFF2-40B4-BE49-F238E27FC236}">
                  <a16:creationId xmlns:a16="http://schemas.microsoft.com/office/drawing/2014/main" id="{794EF39A-5A95-4A7A-9F60-B9FEB0A832BF}"/>
                </a:ext>
              </a:extLst>
            </p:cNvPr>
            <p:cNvSpPr>
              <a:spLocks/>
            </p:cNvSpPr>
            <p:nvPr/>
          </p:nvSpPr>
          <p:spPr bwMode="gray">
            <a:xfrm>
              <a:off x="1524" y="1096"/>
              <a:ext cx="1" cy="0"/>
            </a:xfrm>
            <a:custGeom>
              <a:avLst/>
              <a:gdLst>
                <a:gd name="T0" fmla="*/ 0 w 4"/>
                <a:gd name="T1" fmla="*/ 0 h 4"/>
                <a:gd name="T2" fmla="*/ 0 w 4"/>
                <a:gd name="T3" fmla="*/ 0 h 4"/>
                <a:gd name="T4" fmla="*/ 4 w 4"/>
                <a:gd name="T5" fmla="*/ 4 h 4"/>
                <a:gd name="T6" fmla="*/ 0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0" y="0"/>
                  </a:lnTo>
                  <a:cubicBezTo>
                    <a:pt x="1" y="1"/>
                    <a:pt x="3" y="2"/>
                    <a:pt x="4" y="4"/>
                  </a:cubicBezTo>
                  <a:cubicBezTo>
                    <a:pt x="3" y="2"/>
                    <a:pt x="2" y="1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35">
              <a:extLst>
                <a:ext uri="{FF2B5EF4-FFF2-40B4-BE49-F238E27FC236}">
                  <a16:creationId xmlns:a16="http://schemas.microsoft.com/office/drawing/2014/main" id="{FA725352-09A1-499A-840A-46ED4834F43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06" y="1007"/>
              <a:ext cx="1" cy="1"/>
            </a:xfrm>
            <a:custGeom>
              <a:avLst/>
              <a:gdLst>
                <a:gd name="T0" fmla="*/ 5 w 5"/>
                <a:gd name="T1" fmla="*/ 3 h 3"/>
                <a:gd name="T2" fmla="*/ 5 w 5"/>
                <a:gd name="T3" fmla="*/ 3 h 3"/>
                <a:gd name="T4" fmla="*/ 0 w 5"/>
                <a:gd name="T5" fmla="*/ 0 h 3"/>
                <a:gd name="T6" fmla="*/ 5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5" y="3"/>
                  </a:lnTo>
                  <a:cubicBezTo>
                    <a:pt x="4" y="2"/>
                    <a:pt x="3" y="1"/>
                    <a:pt x="0" y="0"/>
                  </a:cubicBezTo>
                  <a:cubicBezTo>
                    <a:pt x="2" y="1"/>
                    <a:pt x="3" y="2"/>
                    <a:pt x="5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136">
              <a:extLst>
                <a:ext uri="{FF2B5EF4-FFF2-40B4-BE49-F238E27FC236}">
                  <a16:creationId xmlns:a16="http://schemas.microsoft.com/office/drawing/2014/main" id="{E25BD1CE-BBD9-435F-BEAD-CE11867AC08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05" y="1008"/>
              <a:ext cx="8" cy="7"/>
            </a:xfrm>
            <a:custGeom>
              <a:avLst/>
              <a:gdLst>
                <a:gd name="T0" fmla="*/ 19 w 40"/>
                <a:gd name="T1" fmla="*/ 11 h 35"/>
                <a:gd name="T2" fmla="*/ 19 w 40"/>
                <a:gd name="T3" fmla="*/ 11 h 35"/>
                <a:gd name="T4" fmla="*/ 40 w 40"/>
                <a:gd name="T5" fmla="*/ 35 h 35"/>
                <a:gd name="T6" fmla="*/ 10 w 40"/>
                <a:gd name="T7" fmla="*/ 0 h 35"/>
                <a:gd name="T8" fmla="*/ 19 w 40"/>
                <a:gd name="T9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5">
                  <a:moveTo>
                    <a:pt x="19" y="11"/>
                  </a:moveTo>
                  <a:lnTo>
                    <a:pt x="19" y="11"/>
                  </a:lnTo>
                  <a:cubicBezTo>
                    <a:pt x="14" y="18"/>
                    <a:pt x="23" y="33"/>
                    <a:pt x="40" y="35"/>
                  </a:cubicBezTo>
                  <a:cubicBezTo>
                    <a:pt x="32" y="23"/>
                    <a:pt x="27" y="13"/>
                    <a:pt x="10" y="0"/>
                  </a:cubicBezTo>
                  <a:cubicBezTo>
                    <a:pt x="11" y="5"/>
                    <a:pt x="0" y="11"/>
                    <a:pt x="19" y="1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37">
              <a:extLst>
                <a:ext uri="{FF2B5EF4-FFF2-40B4-BE49-F238E27FC236}">
                  <a16:creationId xmlns:a16="http://schemas.microsoft.com/office/drawing/2014/main" id="{E1522FA4-1372-49A0-B1DD-F17D4E88E8E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0" y="989"/>
              <a:ext cx="5" cy="3"/>
            </a:xfrm>
            <a:custGeom>
              <a:avLst/>
              <a:gdLst>
                <a:gd name="T0" fmla="*/ 0 w 26"/>
                <a:gd name="T1" fmla="*/ 3 h 16"/>
                <a:gd name="T2" fmla="*/ 0 w 26"/>
                <a:gd name="T3" fmla="*/ 3 h 16"/>
                <a:gd name="T4" fmla="*/ 19 w 26"/>
                <a:gd name="T5" fmla="*/ 14 h 16"/>
                <a:gd name="T6" fmla="*/ 0 w 26"/>
                <a:gd name="T7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16">
                  <a:moveTo>
                    <a:pt x="0" y="3"/>
                  </a:moveTo>
                  <a:lnTo>
                    <a:pt x="0" y="3"/>
                  </a:lnTo>
                  <a:cubicBezTo>
                    <a:pt x="9" y="9"/>
                    <a:pt x="4" y="16"/>
                    <a:pt x="19" y="14"/>
                  </a:cubicBezTo>
                  <a:cubicBezTo>
                    <a:pt x="26" y="11"/>
                    <a:pt x="10" y="0"/>
                    <a:pt x="0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38">
              <a:extLst>
                <a:ext uri="{FF2B5EF4-FFF2-40B4-BE49-F238E27FC236}">
                  <a16:creationId xmlns:a16="http://schemas.microsoft.com/office/drawing/2014/main" id="{1B9B74AD-08F4-4C38-97E7-BC06A127262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853"/>
              <a:ext cx="5" cy="3"/>
            </a:xfrm>
            <a:custGeom>
              <a:avLst/>
              <a:gdLst>
                <a:gd name="T0" fmla="*/ 20 w 29"/>
                <a:gd name="T1" fmla="*/ 15 h 15"/>
                <a:gd name="T2" fmla="*/ 20 w 29"/>
                <a:gd name="T3" fmla="*/ 15 h 15"/>
                <a:gd name="T4" fmla="*/ 0 w 29"/>
                <a:gd name="T5" fmla="*/ 2 h 15"/>
                <a:gd name="T6" fmla="*/ 20 w 29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5">
                  <a:moveTo>
                    <a:pt x="20" y="15"/>
                  </a:moveTo>
                  <a:lnTo>
                    <a:pt x="20" y="15"/>
                  </a:lnTo>
                  <a:cubicBezTo>
                    <a:pt x="29" y="5"/>
                    <a:pt x="23" y="0"/>
                    <a:pt x="0" y="2"/>
                  </a:cubicBezTo>
                  <a:cubicBezTo>
                    <a:pt x="0" y="13"/>
                    <a:pt x="14" y="7"/>
                    <a:pt x="20" y="1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139">
              <a:extLst>
                <a:ext uri="{FF2B5EF4-FFF2-40B4-BE49-F238E27FC236}">
                  <a16:creationId xmlns:a16="http://schemas.microsoft.com/office/drawing/2014/main" id="{50E3ADCC-901A-4A90-B2B7-652E2D8BFB7C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4" y="849"/>
              <a:ext cx="5" cy="2"/>
            </a:xfrm>
            <a:custGeom>
              <a:avLst/>
              <a:gdLst>
                <a:gd name="T0" fmla="*/ 0 w 28"/>
                <a:gd name="T1" fmla="*/ 7 h 7"/>
                <a:gd name="T2" fmla="*/ 0 w 28"/>
                <a:gd name="T3" fmla="*/ 7 h 7"/>
                <a:gd name="T4" fmla="*/ 11 w 28"/>
                <a:gd name="T5" fmla="*/ 6 h 7"/>
                <a:gd name="T6" fmla="*/ 28 w 28"/>
                <a:gd name="T7" fmla="*/ 0 h 7"/>
                <a:gd name="T8" fmla="*/ 0 w 28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lnTo>
                    <a:pt x="0" y="7"/>
                  </a:lnTo>
                  <a:lnTo>
                    <a:pt x="11" y="6"/>
                  </a:lnTo>
                  <a:lnTo>
                    <a:pt x="28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140">
              <a:extLst>
                <a:ext uri="{FF2B5EF4-FFF2-40B4-BE49-F238E27FC236}">
                  <a16:creationId xmlns:a16="http://schemas.microsoft.com/office/drawing/2014/main" id="{601C9865-05AC-4A95-874A-D89278DCA76A}"/>
                </a:ext>
              </a:extLst>
            </p:cNvPr>
            <p:cNvSpPr>
              <a:spLocks/>
            </p:cNvSpPr>
            <p:nvPr/>
          </p:nvSpPr>
          <p:spPr bwMode="gray">
            <a:xfrm>
              <a:off x="1601" y="837"/>
              <a:ext cx="2" cy="1"/>
            </a:xfrm>
            <a:custGeom>
              <a:avLst/>
              <a:gdLst>
                <a:gd name="T0" fmla="*/ 0 w 10"/>
                <a:gd name="T1" fmla="*/ 3 h 7"/>
                <a:gd name="T2" fmla="*/ 0 w 10"/>
                <a:gd name="T3" fmla="*/ 3 h 7"/>
                <a:gd name="T4" fmla="*/ 10 w 10"/>
                <a:gd name="T5" fmla="*/ 7 h 7"/>
                <a:gd name="T6" fmla="*/ 0 w 10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lnTo>
                    <a:pt x="0" y="3"/>
                  </a:lnTo>
                  <a:cubicBezTo>
                    <a:pt x="4" y="3"/>
                    <a:pt x="7" y="5"/>
                    <a:pt x="10" y="7"/>
                  </a:cubicBezTo>
                  <a:cubicBezTo>
                    <a:pt x="7" y="3"/>
                    <a:pt x="4" y="0"/>
                    <a:pt x="0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141">
              <a:extLst>
                <a:ext uri="{FF2B5EF4-FFF2-40B4-BE49-F238E27FC236}">
                  <a16:creationId xmlns:a16="http://schemas.microsoft.com/office/drawing/2014/main" id="{2C91919E-633A-4595-9686-AB80C40618D9}"/>
                </a:ext>
              </a:extLst>
            </p:cNvPr>
            <p:cNvSpPr>
              <a:spLocks/>
            </p:cNvSpPr>
            <p:nvPr/>
          </p:nvSpPr>
          <p:spPr bwMode="gray">
            <a:xfrm>
              <a:off x="1603" y="838"/>
              <a:ext cx="0" cy="1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2 h 2"/>
                <a:gd name="T4" fmla="*/ 0 w 1"/>
                <a:gd name="T5" fmla="*/ 0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2"/>
                  </a:lnTo>
                  <a:cubicBezTo>
                    <a:pt x="1" y="1"/>
                    <a:pt x="0" y="1"/>
                    <a:pt x="0" y="0"/>
                  </a:cubicBezTo>
                  <a:cubicBezTo>
                    <a:pt x="0" y="1"/>
                    <a:pt x="1" y="1"/>
                    <a:pt x="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142">
              <a:extLst>
                <a:ext uri="{FF2B5EF4-FFF2-40B4-BE49-F238E27FC236}">
                  <a16:creationId xmlns:a16="http://schemas.microsoft.com/office/drawing/2014/main" id="{AE1FFDA3-09DA-437C-901C-68336872314C}"/>
                </a:ext>
              </a:extLst>
            </p:cNvPr>
            <p:cNvSpPr>
              <a:spLocks/>
            </p:cNvSpPr>
            <p:nvPr/>
          </p:nvSpPr>
          <p:spPr bwMode="gray">
            <a:xfrm>
              <a:off x="1601" y="839"/>
              <a:ext cx="3" cy="1"/>
            </a:xfrm>
            <a:custGeom>
              <a:avLst/>
              <a:gdLst>
                <a:gd name="T0" fmla="*/ 0 w 12"/>
                <a:gd name="T1" fmla="*/ 4 h 5"/>
                <a:gd name="T2" fmla="*/ 0 w 12"/>
                <a:gd name="T3" fmla="*/ 4 h 5"/>
                <a:gd name="T4" fmla="*/ 12 w 12"/>
                <a:gd name="T5" fmla="*/ 5 h 5"/>
                <a:gd name="T6" fmla="*/ 7 w 12"/>
                <a:gd name="T7" fmla="*/ 0 h 5"/>
                <a:gd name="T8" fmla="*/ 0 w 12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5">
                  <a:moveTo>
                    <a:pt x="0" y="4"/>
                  </a:moveTo>
                  <a:lnTo>
                    <a:pt x="0" y="4"/>
                  </a:lnTo>
                  <a:lnTo>
                    <a:pt x="12" y="5"/>
                  </a:lnTo>
                  <a:cubicBezTo>
                    <a:pt x="10" y="4"/>
                    <a:pt x="9" y="2"/>
                    <a:pt x="7" y="0"/>
                  </a:cubicBezTo>
                  <a:cubicBezTo>
                    <a:pt x="8" y="2"/>
                    <a:pt x="6" y="4"/>
                    <a:pt x="0" y="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143">
              <a:extLst>
                <a:ext uri="{FF2B5EF4-FFF2-40B4-BE49-F238E27FC236}">
                  <a16:creationId xmlns:a16="http://schemas.microsoft.com/office/drawing/2014/main" id="{4BC0E11F-F7A1-4F3A-BF5F-98C1FE501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833"/>
              <a:ext cx="10" cy="6"/>
            </a:xfrm>
            <a:custGeom>
              <a:avLst/>
              <a:gdLst>
                <a:gd name="T0" fmla="*/ 34 w 54"/>
                <a:gd name="T1" fmla="*/ 2 h 28"/>
                <a:gd name="T2" fmla="*/ 34 w 54"/>
                <a:gd name="T3" fmla="*/ 2 h 28"/>
                <a:gd name="T4" fmla="*/ 0 w 54"/>
                <a:gd name="T5" fmla="*/ 14 h 28"/>
                <a:gd name="T6" fmla="*/ 54 w 54"/>
                <a:gd name="T7" fmla="*/ 14 h 28"/>
                <a:gd name="T8" fmla="*/ 34 w 54"/>
                <a:gd name="T9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28">
                  <a:moveTo>
                    <a:pt x="34" y="2"/>
                  </a:moveTo>
                  <a:lnTo>
                    <a:pt x="34" y="2"/>
                  </a:lnTo>
                  <a:lnTo>
                    <a:pt x="0" y="14"/>
                  </a:lnTo>
                  <a:cubicBezTo>
                    <a:pt x="16" y="28"/>
                    <a:pt x="18" y="0"/>
                    <a:pt x="54" y="14"/>
                  </a:cubicBezTo>
                  <a:lnTo>
                    <a:pt x="34" y="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144">
              <a:extLst>
                <a:ext uri="{FF2B5EF4-FFF2-40B4-BE49-F238E27FC236}">
                  <a16:creationId xmlns:a16="http://schemas.microsoft.com/office/drawing/2014/main" id="{F2BFE23B-09EC-42F0-AB97-1FF650EA69C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79" y="811"/>
              <a:ext cx="23" cy="14"/>
            </a:xfrm>
            <a:custGeom>
              <a:avLst/>
              <a:gdLst>
                <a:gd name="T0" fmla="*/ 105 w 117"/>
                <a:gd name="T1" fmla="*/ 73 h 73"/>
                <a:gd name="T2" fmla="*/ 105 w 117"/>
                <a:gd name="T3" fmla="*/ 73 h 73"/>
                <a:gd name="T4" fmla="*/ 104 w 117"/>
                <a:gd name="T5" fmla="*/ 36 h 73"/>
                <a:gd name="T6" fmla="*/ 22 w 117"/>
                <a:gd name="T7" fmla="*/ 1 h 73"/>
                <a:gd name="T8" fmla="*/ 76 w 117"/>
                <a:gd name="T9" fmla="*/ 56 h 73"/>
                <a:gd name="T10" fmla="*/ 105 w 117"/>
                <a:gd name="T1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73">
                  <a:moveTo>
                    <a:pt x="105" y="73"/>
                  </a:moveTo>
                  <a:lnTo>
                    <a:pt x="105" y="73"/>
                  </a:lnTo>
                  <a:cubicBezTo>
                    <a:pt x="117" y="61"/>
                    <a:pt x="63" y="42"/>
                    <a:pt x="104" y="36"/>
                  </a:cubicBezTo>
                  <a:cubicBezTo>
                    <a:pt x="84" y="0"/>
                    <a:pt x="36" y="42"/>
                    <a:pt x="22" y="1"/>
                  </a:cubicBezTo>
                  <a:cubicBezTo>
                    <a:pt x="0" y="39"/>
                    <a:pt x="100" y="23"/>
                    <a:pt x="76" y="56"/>
                  </a:cubicBezTo>
                  <a:cubicBezTo>
                    <a:pt x="102" y="40"/>
                    <a:pt x="96" y="67"/>
                    <a:pt x="105" y="7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145">
              <a:extLst>
                <a:ext uri="{FF2B5EF4-FFF2-40B4-BE49-F238E27FC236}">
                  <a16:creationId xmlns:a16="http://schemas.microsoft.com/office/drawing/2014/main" id="{259EDC1F-FEB0-491A-8EBA-83B01F7303E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2" y="822"/>
              <a:ext cx="9" cy="4"/>
            </a:xfrm>
            <a:custGeom>
              <a:avLst/>
              <a:gdLst>
                <a:gd name="T0" fmla="*/ 22 w 44"/>
                <a:gd name="T1" fmla="*/ 18 h 21"/>
                <a:gd name="T2" fmla="*/ 22 w 44"/>
                <a:gd name="T3" fmla="*/ 18 h 21"/>
                <a:gd name="T4" fmla="*/ 31 w 44"/>
                <a:gd name="T5" fmla="*/ 0 h 21"/>
                <a:gd name="T6" fmla="*/ 22 w 44"/>
                <a:gd name="T7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1">
                  <a:moveTo>
                    <a:pt x="22" y="18"/>
                  </a:moveTo>
                  <a:lnTo>
                    <a:pt x="22" y="18"/>
                  </a:lnTo>
                  <a:cubicBezTo>
                    <a:pt x="42" y="21"/>
                    <a:pt x="44" y="5"/>
                    <a:pt x="31" y="0"/>
                  </a:cubicBezTo>
                  <a:cubicBezTo>
                    <a:pt x="29" y="4"/>
                    <a:pt x="0" y="11"/>
                    <a:pt x="22" y="1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146">
              <a:extLst>
                <a:ext uri="{FF2B5EF4-FFF2-40B4-BE49-F238E27FC236}">
                  <a16:creationId xmlns:a16="http://schemas.microsoft.com/office/drawing/2014/main" id="{73F980E6-E5C7-49D8-8B2C-6A3B1B77CB6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7" y="809"/>
              <a:ext cx="3" cy="3"/>
            </a:xfrm>
            <a:custGeom>
              <a:avLst/>
              <a:gdLst>
                <a:gd name="T0" fmla="*/ 0 w 16"/>
                <a:gd name="T1" fmla="*/ 14 h 14"/>
                <a:gd name="T2" fmla="*/ 0 w 16"/>
                <a:gd name="T3" fmla="*/ 14 h 14"/>
                <a:gd name="T4" fmla="*/ 16 w 16"/>
                <a:gd name="T5" fmla="*/ 4 h 14"/>
                <a:gd name="T6" fmla="*/ 3 w 16"/>
                <a:gd name="T7" fmla="*/ 0 h 14"/>
                <a:gd name="T8" fmla="*/ 0 w 16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0" y="14"/>
                  </a:moveTo>
                  <a:lnTo>
                    <a:pt x="0" y="14"/>
                  </a:lnTo>
                  <a:lnTo>
                    <a:pt x="16" y="4"/>
                  </a:lnTo>
                  <a:lnTo>
                    <a:pt x="3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47">
              <a:extLst>
                <a:ext uri="{FF2B5EF4-FFF2-40B4-BE49-F238E27FC236}">
                  <a16:creationId xmlns:a16="http://schemas.microsoft.com/office/drawing/2014/main" id="{9E8625A4-ECB3-49D9-A6E8-18386E1A56DB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8" y="802"/>
              <a:ext cx="5" cy="4"/>
            </a:xfrm>
            <a:custGeom>
              <a:avLst/>
              <a:gdLst>
                <a:gd name="T0" fmla="*/ 0 w 24"/>
                <a:gd name="T1" fmla="*/ 8 h 20"/>
                <a:gd name="T2" fmla="*/ 0 w 24"/>
                <a:gd name="T3" fmla="*/ 8 h 20"/>
                <a:gd name="T4" fmla="*/ 24 w 24"/>
                <a:gd name="T5" fmla="*/ 20 h 20"/>
                <a:gd name="T6" fmla="*/ 0 w 24"/>
                <a:gd name="T7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0">
                  <a:moveTo>
                    <a:pt x="0" y="8"/>
                  </a:moveTo>
                  <a:lnTo>
                    <a:pt x="0" y="8"/>
                  </a:lnTo>
                  <a:lnTo>
                    <a:pt x="24" y="20"/>
                  </a:lnTo>
                  <a:cubicBezTo>
                    <a:pt x="15" y="16"/>
                    <a:pt x="17" y="0"/>
                    <a:pt x="0" y="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148">
              <a:extLst>
                <a:ext uri="{FF2B5EF4-FFF2-40B4-BE49-F238E27FC236}">
                  <a16:creationId xmlns:a16="http://schemas.microsoft.com/office/drawing/2014/main" id="{568E8B4A-E629-41BA-B558-D95BB99A276C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6" y="789"/>
              <a:ext cx="10" cy="4"/>
            </a:xfrm>
            <a:custGeom>
              <a:avLst/>
              <a:gdLst>
                <a:gd name="T0" fmla="*/ 46 w 54"/>
                <a:gd name="T1" fmla="*/ 20 h 21"/>
                <a:gd name="T2" fmla="*/ 46 w 54"/>
                <a:gd name="T3" fmla="*/ 20 h 21"/>
                <a:gd name="T4" fmla="*/ 11 w 54"/>
                <a:gd name="T5" fmla="*/ 21 h 21"/>
                <a:gd name="T6" fmla="*/ 13 w 54"/>
                <a:gd name="T7" fmla="*/ 16 h 21"/>
                <a:gd name="T8" fmla="*/ 46 w 54"/>
                <a:gd name="T9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21">
                  <a:moveTo>
                    <a:pt x="46" y="20"/>
                  </a:moveTo>
                  <a:lnTo>
                    <a:pt x="46" y="20"/>
                  </a:lnTo>
                  <a:cubicBezTo>
                    <a:pt x="54" y="10"/>
                    <a:pt x="0" y="0"/>
                    <a:pt x="11" y="21"/>
                  </a:cubicBezTo>
                  <a:lnTo>
                    <a:pt x="13" y="16"/>
                  </a:lnTo>
                  <a:cubicBezTo>
                    <a:pt x="22" y="18"/>
                    <a:pt x="41" y="7"/>
                    <a:pt x="46" y="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149">
              <a:extLst>
                <a:ext uri="{FF2B5EF4-FFF2-40B4-BE49-F238E27FC236}">
                  <a16:creationId xmlns:a16="http://schemas.microsoft.com/office/drawing/2014/main" id="{C81BCCA5-5ED9-4DBE-9140-0A055DF9232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9" y="766"/>
              <a:ext cx="3" cy="4"/>
            </a:xfrm>
            <a:custGeom>
              <a:avLst/>
              <a:gdLst>
                <a:gd name="T0" fmla="*/ 1 w 18"/>
                <a:gd name="T1" fmla="*/ 5 h 20"/>
                <a:gd name="T2" fmla="*/ 1 w 18"/>
                <a:gd name="T3" fmla="*/ 5 h 20"/>
                <a:gd name="T4" fmla="*/ 18 w 18"/>
                <a:gd name="T5" fmla="*/ 19 h 20"/>
                <a:gd name="T6" fmla="*/ 7 w 18"/>
                <a:gd name="T7" fmla="*/ 0 h 20"/>
                <a:gd name="T8" fmla="*/ 1 w 18"/>
                <a:gd name="T9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0">
                  <a:moveTo>
                    <a:pt x="1" y="5"/>
                  </a:moveTo>
                  <a:lnTo>
                    <a:pt x="1" y="5"/>
                  </a:lnTo>
                  <a:cubicBezTo>
                    <a:pt x="0" y="11"/>
                    <a:pt x="6" y="20"/>
                    <a:pt x="18" y="19"/>
                  </a:cubicBezTo>
                  <a:lnTo>
                    <a:pt x="7" y="0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150">
              <a:extLst>
                <a:ext uri="{FF2B5EF4-FFF2-40B4-BE49-F238E27FC236}">
                  <a16:creationId xmlns:a16="http://schemas.microsoft.com/office/drawing/2014/main" id="{AFC5992D-304A-4F57-BC75-8A27671B8D4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" y="766"/>
              <a:ext cx="7" cy="6"/>
            </a:xfrm>
            <a:custGeom>
              <a:avLst/>
              <a:gdLst>
                <a:gd name="T0" fmla="*/ 34 w 36"/>
                <a:gd name="T1" fmla="*/ 0 h 30"/>
                <a:gd name="T2" fmla="*/ 34 w 36"/>
                <a:gd name="T3" fmla="*/ 0 h 30"/>
                <a:gd name="T4" fmla="*/ 24 w 36"/>
                <a:gd name="T5" fmla="*/ 30 h 30"/>
                <a:gd name="T6" fmla="*/ 34 w 36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30">
                  <a:moveTo>
                    <a:pt x="34" y="0"/>
                  </a:moveTo>
                  <a:lnTo>
                    <a:pt x="34" y="0"/>
                  </a:lnTo>
                  <a:cubicBezTo>
                    <a:pt x="0" y="5"/>
                    <a:pt x="36" y="18"/>
                    <a:pt x="24" y="30"/>
                  </a:cubicBezTo>
                  <a:cubicBezTo>
                    <a:pt x="31" y="16"/>
                    <a:pt x="36" y="18"/>
                    <a:pt x="3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51">
              <a:extLst>
                <a:ext uri="{FF2B5EF4-FFF2-40B4-BE49-F238E27FC236}">
                  <a16:creationId xmlns:a16="http://schemas.microsoft.com/office/drawing/2014/main" id="{B32D0B02-4BF0-43A7-8BA2-79B35269F62F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8" y="763"/>
              <a:ext cx="4" cy="4"/>
            </a:xfrm>
            <a:custGeom>
              <a:avLst/>
              <a:gdLst>
                <a:gd name="T0" fmla="*/ 0 w 21"/>
                <a:gd name="T1" fmla="*/ 0 h 18"/>
                <a:gd name="T2" fmla="*/ 0 w 21"/>
                <a:gd name="T3" fmla="*/ 0 h 18"/>
                <a:gd name="T4" fmla="*/ 2 w 21"/>
                <a:gd name="T5" fmla="*/ 18 h 18"/>
                <a:gd name="T6" fmla="*/ 0 w 21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8">
                  <a:moveTo>
                    <a:pt x="0" y="0"/>
                  </a:moveTo>
                  <a:lnTo>
                    <a:pt x="0" y="0"/>
                  </a:lnTo>
                  <a:cubicBezTo>
                    <a:pt x="13" y="6"/>
                    <a:pt x="4" y="13"/>
                    <a:pt x="2" y="18"/>
                  </a:cubicBezTo>
                  <a:cubicBezTo>
                    <a:pt x="21" y="16"/>
                    <a:pt x="16" y="3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152">
              <a:extLst>
                <a:ext uri="{FF2B5EF4-FFF2-40B4-BE49-F238E27FC236}">
                  <a16:creationId xmlns:a16="http://schemas.microsoft.com/office/drawing/2014/main" id="{0937C574-2FA2-4CC3-A026-7D4F872FD41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8" y="750"/>
              <a:ext cx="17" cy="12"/>
            </a:xfrm>
            <a:custGeom>
              <a:avLst/>
              <a:gdLst>
                <a:gd name="T0" fmla="*/ 45 w 91"/>
                <a:gd name="T1" fmla="*/ 36 h 62"/>
                <a:gd name="T2" fmla="*/ 45 w 91"/>
                <a:gd name="T3" fmla="*/ 36 h 62"/>
                <a:gd name="T4" fmla="*/ 73 w 91"/>
                <a:gd name="T5" fmla="*/ 34 h 62"/>
                <a:gd name="T6" fmla="*/ 69 w 91"/>
                <a:gd name="T7" fmla="*/ 0 h 62"/>
                <a:gd name="T8" fmla="*/ 0 w 91"/>
                <a:gd name="T9" fmla="*/ 0 h 62"/>
                <a:gd name="T10" fmla="*/ 24 w 91"/>
                <a:gd name="T11" fmla="*/ 42 h 62"/>
                <a:gd name="T12" fmla="*/ 81 w 91"/>
                <a:gd name="T13" fmla="*/ 62 h 62"/>
                <a:gd name="T14" fmla="*/ 45 w 91"/>
                <a:gd name="T15" fmla="*/ 3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62">
                  <a:moveTo>
                    <a:pt x="45" y="36"/>
                  </a:moveTo>
                  <a:lnTo>
                    <a:pt x="45" y="36"/>
                  </a:lnTo>
                  <a:cubicBezTo>
                    <a:pt x="58" y="31"/>
                    <a:pt x="63" y="38"/>
                    <a:pt x="73" y="34"/>
                  </a:cubicBezTo>
                  <a:cubicBezTo>
                    <a:pt x="88" y="22"/>
                    <a:pt x="87" y="8"/>
                    <a:pt x="69" y="0"/>
                  </a:cubicBezTo>
                  <a:cubicBezTo>
                    <a:pt x="54" y="3"/>
                    <a:pt x="16" y="6"/>
                    <a:pt x="0" y="0"/>
                  </a:cubicBezTo>
                  <a:cubicBezTo>
                    <a:pt x="10" y="21"/>
                    <a:pt x="71" y="34"/>
                    <a:pt x="24" y="42"/>
                  </a:cubicBezTo>
                  <a:lnTo>
                    <a:pt x="81" y="62"/>
                  </a:lnTo>
                  <a:cubicBezTo>
                    <a:pt x="91" y="46"/>
                    <a:pt x="41" y="48"/>
                    <a:pt x="45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153">
              <a:extLst>
                <a:ext uri="{FF2B5EF4-FFF2-40B4-BE49-F238E27FC236}">
                  <a16:creationId xmlns:a16="http://schemas.microsoft.com/office/drawing/2014/main" id="{C796C4CD-4F59-49E3-ADE4-A3F2546F3A0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5" y="760"/>
              <a:ext cx="14" cy="5"/>
            </a:xfrm>
            <a:custGeom>
              <a:avLst/>
              <a:gdLst>
                <a:gd name="T0" fmla="*/ 51 w 70"/>
                <a:gd name="T1" fmla="*/ 24 h 24"/>
                <a:gd name="T2" fmla="*/ 51 w 70"/>
                <a:gd name="T3" fmla="*/ 24 h 24"/>
                <a:gd name="T4" fmla="*/ 70 w 70"/>
                <a:gd name="T5" fmla="*/ 13 h 24"/>
                <a:gd name="T6" fmla="*/ 43 w 70"/>
                <a:gd name="T7" fmla="*/ 0 h 24"/>
                <a:gd name="T8" fmla="*/ 51 w 70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24">
                  <a:moveTo>
                    <a:pt x="51" y="24"/>
                  </a:moveTo>
                  <a:lnTo>
                    <a:pt x="51" y="24"/>
                  </a:lnTo>
                  <a:lnTo>
                    <a:pt x="70" y="13"/>
                  </a:lnTo>
                  <a:cubicBezTo>
                    <a:pt x="51" y="15"/>
                    <a:pt x="49" y="6"/>
                    <a:pt x="43" y="0"/>
                  </a:cubicBezTo>
                  <a:cubicBezTo>
                    <a:pt x="0" y="1"/>
                    <a:pt x="48" y="17"/>
                    <a:pt x="51" y="2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54">
              <a:extLst>
                <a:ext uri="{FF2B5EF4-FFF2-40B4-BE49-F238E27FC236}">
                  <a16:creationId xmlns:a16="http://schemas.microsoft.com/office/drawing/2014/main" id="{595455B7-6C67-4115-94EA-E98962ADB2D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0" y="730"/>
              <a:ext cx="2" cy="5"/>
            </a:xfrm>
            <a:custGeom>
              <a:avLst/>
              <a:gdLst>
                <a:gd name="T0" fmla="*/ 12 w 12"/>
                <a:gd name="T1" fmla="*/ 24 h 24"/>
                <a:gd name="T2" fmla="*/ 12 w 12"/>
                <a:gd name="T3" fmla="*/ 24 h 24"/>
                <a:gd name="T4" fmla="*/ 3 w 12"/>
                <a:gd name="T5" fmla="*/ 0 h 24"/>
                <a:gd name="T6" fmla="*/ 0 w 12"/>
                <a:gd name="T7" fmla="*/ 8 h 24"/>
                <a:gd name="T8" fmla="*/ 12 w 12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4">
                  <a:moveTo>
                    <a:pt x="12" y="24"/>
                  </a:moveTo>
                  <a:lnTo>
                    <a:pt x="12" y="24"/>
                  </a:lnTo>
                  <a:lnTo>
                    <a:pt x="3" y="0"/>
                  </a:lnTo>
                  <a:lnTo>
                    <a:pt x="0" y="8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55">
              <a:extLst>
                <a:ext uri="{FF2B5EF4-FFF2-40B4-BE49-F238E27FC236}">
                  <a16:creationId xmlns:a16="http://schemas.microsoft.com/office/drawing/2014/main" id="{D6FC0E2A-0630-4264-AFDA-2EC7641C4A8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3" y="728"/>
              <a:ext cx="5" cy="4"/>
            </a:xfrm>
            <a:custGeom>
              <a:avLst/>
              <a:gdLst>
                <a:gd name="T0" fmla="*/ 9 w 21"/>
                <a:gd name="T1" fmla="*/ 20 h 20"/>
                <a:gd name="T2" fmla="*/ 9 w 21"/>
                <a:gd name="T3" fmla="*/ 20 h 20"/>
                <a:gd name="T4" fmla="*/ 21 w 21"/>
                <a:gd name="T5" fmla="*/ 20 h 20"/>
                <a:gd name="T6" fmla="*/ 0 w 21"/>
                <a:gd name="T7" fmla="*/ 0 h 20"/>
                <a:gd name="T8" fmla="*/ 9 w 21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0">
                  <a:moveTo>
                    <a:pt x="9" y="20"/>
                  </a:moveTo>
                  <a:lnTo>
                    <a:pt x="9" y="20"/>
                  </a:lnTo>
                  <a:lnTo>
                    <a:pt x="21" y="20"/>
                  </a:lnTo>
                  <a:lnTo>
                    <a:pt x="0" y="0"/>
                  </a:lnTo>
                  <a:lnTo>
                    <a:pt x="9" y="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56">
              <a:extLst>
                <a:ext uri="{FF2B5EF4-FFF2-40B4-BE49-F238E27FC236}">
                  <a16:creationId xmlns:a16="http://schemas.microsoft.com/office/drawing/2014/main" id="{158F534F-991A-4B60-937B-047244FEA43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8" y="728"/>
              <a:ext cx="2" cy="3"/>
            </a:xfrm>
            <a:custGeom>
              <a:avLst/>
              <a:gdLst>
                <a:gd name="T0" fmla="*/ 2 w 10"/>
                <a:gd name="T1" fmla="*/ 0 h 17"/>
                <a:gd name="T2" fmla="*/ 2 w 10"/>
                <a:gd name="T3" fmla="*/ 0 h 17"/>
                <a:gd name="T4" fmla="*/ 0 w 10"/>
                <a:gd name="T5" fmla="*/ 2 h 17"/>
                <a:gd name="T6" fmla="*/ 10 w 10"/>
                <a:gd name="T7" fmla="*/ 17 h 17"/>
                <a:gd name="T8" fmla="*/ 2 w 10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7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10" y="17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57">
              <a:extLst>
                <a:ext uri="{FF2B5EF4-FFF2-40B4-BE49-F238E27FC236}">
                  <a16:creationId xmlns:a16="http://schemas.microsoft.com/office/drawing/2014/main" id="{0EF2A913-92F7-47EA-A734-8EA5D1AA2CF2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4" y="718"/>
              <a:ext cx="6" cy="4"/>
            </a:xfrm>
            <a:custGeom>
              <a:avLst/>
              <a:gdLst>
                <a:gd name="T0" fmla="*/ 34 w 34"/>
                <a:gd name="T1" fmla="*/ 0 h 21"/>
                <a:gd name="T2" fmla="*/ 34 w 34"/>
                <a:gd name="T3" fmla="*/ 0 h 21"/>
                <a:gd name="T4" fmla="*/ 16 w 34"/>
                <a:gd name="T5" fmla="*/ 3 h 21"/>
                <a:gd name="T6" fmla="*/ 24 w 34"/>
                <a:gd name="T7" fmla="*/ 21 h 21"/>
                <a:gd name="T8" fmla="*/ 34 w 34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1">
                  <a:moveTo>
                    <a:pt x="34" y="0"/>
                  </a:moveTo>
                  <a:lnTo>
                    <a:pt x="34" y="0"/>
                  </a:lnTo>
                  <a:lnTo>
                    <a:pt x="16" y="3"/>
                  </a:lnTo>
                  <a:cubicBezTo>
                    <a:pt x="20" y="10"/>
                    <a:pt x="0" y="20"/>
                    <a:pt x="24" y="21"/>
                  </a:cubicBezTo>
                  <a:cubicBezTo>
                    <a:pt x="16" y="15"/>
                    <a:pt x="20" y="3"/>
                    <a:pt x="3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58">
              <a:extLst>
                <a:ext uri="{FF2B5EF4-FFF2-40B4-BE49-F238E27FC236}">
                  <a16:creationId xmlns:a16="http://schemas.microsoft.com/office/drawing/2014/main" id="{277B35DB-C630-42A5-BF64-0C87CFFB536C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" y="691"/>
              <a:ext cx="6" cy="1"/>
            </a:xfrm>
            <a:custGeom>
              <a:avLst/>
              <a:gdLst>
                <a:gd name="T0" fmla="*/ 0 w 33"/>
                <a:gd name="T1" fmla="*/ 5 h 5"/>
                <a:gd name="T2" fmla="*/ 0 w 33"/>
                <a:gd name="T3" fmla="*/ 5 h 5"/>
                <a:gd name="T4" fmla="*/ 33 w 33"/>
                <a:gd name="T5" fmla="*/ 0 h 5"/>
                <a:gd name="T6" fmla="*/ 18 w 33"/>
                <a:gd name="T7" fmla="*/ 2 h 5"/>
                <a:gd name="T8" fmla="*/ 2 w 33"/>
                <a:gd name="T9" fmla="*/ 4 h 5"/>
                <a:gd name="T10" fmla="*/ 0 w 33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5">
                  <a:moveTo>
                    <a:pt x="0" y="5"/>
                  </a:moveTo>
                  <a:lnTo>
                    <a:pt x="0" y="5"/>
                  </a:lnTo>
                  <a:cubicBezTo>
                    <a:pt x="12" y="4"/>
                    <a:pt x="22" y="2"/>
                    <a:pt x="33" y="0"/>
                  </a:cubicBezTo>
                  <a:cubicBezTo>
                    <a:pt x="33" y="0"/>
                    <a:pt x="25" y="1"/>
                    <a:pt x="18" y="2"/>
                  </a:cubicBezTo>
                  <a:cubicBezTo>
                    <a:pt x="10" y="3"/>
                    <a:pt x="2" y="4"/>
                    <a:pt x="2" y="4"/>
                  </a:cubicBezTo>
                  <a:cubicBezTo>
                    <a:pt x="4" y="4"/>
                    <a:pt x="7" y="4"/>
                    <a:pt x="0" y="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59">
              <a:extLst>
                <a:ext uri="{FF2B5EF4-FFF2-40B4-BE49-F238E27FC236}">
                  <a16:creationId xmlns:a16="http://schemas.microsoft.com/office/drawing/2014/main" id="{F53962B9-CCB3-4978-80A1-A26F3D0293C6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6" y="689"/>
              <a:ext cx="8" cy="2"/>
            </a:xfrm>
            <a:custGeom>
              <a:avLst/>
              <a:gdLst>
                <a:gd name="T0" fmla="*/ 41 w 44"/>
                <a:gd name="T1" fmla="*/ 0 h 11"/>
                <a:gd name="T2" fmla="*/ 41 w 44"/>
                <a:gd name="T3" fmla="*/ 0 h 11"/>
                <a:gd name="T4" fmla="*/ 23 w 44"/>
                <a:gd name="T5" fmla="*/ 3 h 11"/>
                <a:gd name="T6" fmla="*/ 6 w 44"/>
                <a:gd name="T7" fmla="*/ 7 h 11"/>
                <a:gd name="T8" fmla="*/ 33 w 44"/>
                <a:gd name="T9" fmla="*/ 7 h 11"/>
                <a:gd name="T10" fmla="*/ 29 w 44"/>
                <a:gd name="T11" fmla="*/ 2 h 11"/>
                <a:gd name="T12" fmla="*/ 41 w 44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1">
                  <a:moveTo>
                    <a:pt x="41" y="0"/>
                  </a:moveTo>
                  <a:lnTo>
                    <a:pt x="41" y="0"/>
                  </a:lnTo>
                  <a:cubicBezTo>
                    <a:pt x="41" y="0"/>
                    <a:pt x="32" y="1"/>
                    <a:pt x="23" y="3"/>
                  </a:cubicBezTo>
                  <a:cubicBezTo>
                    <a:pt x="15" y="4"/>
                    <a:pt x="6" y="7"/>
                    <a:pt x="6" y="7"/>
                  </a:cubicBezTo>
                  <a:cubicBezTo>
                    <a:pt x="0" y="11"/>
                    <a:pt x="28" y="4"/>
                    <a:pt x="33" y="7"/>
                  </a:cubicBezTo>
                  <a:cubicBezTo>
                    <a:pt x="44" y="3"/>
                    <a:pt x="19" y="6"/>
                    <a:pt x="29" y="2"/>
                  </a:cubicBezTo>
                  <a:lnTo>
                    <a:pt x="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60">
              <a:extLst>
                <a:ext uri="{FF2B5EF4-FFF2-40B4-BE49-F238E27FC236}">
                  <a16:creationId xmlns:a16="http://schemas.microsoft.com/office/drawing/2014/main" id="{79F9D84B-7357-4A77-945C-7518991C4DC6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8" y="659"/>
              <a:ext cx="11" cy="16"/>
            </a:xfrm>
            <a:custGeom>
              <a:avLst/>
              <a:gdLst>
                <a:gd name="T0" fmla="*/ 29 w 59"/>
                <a:gd name="T1" fmla="*/ 45 h 84"/>
                <a:gd name="T2" fmla="*/ 29 w 59"/>
                <a:gd name="T3" fmla="*/ 45 h 84"/>
                <a:gd name="T4" fmla="*/ 59 w 59"/>
                <a:gd name="T5" fmla="*/ 0 h 84"/>
                <a:gd name="T6" fmla="*/ 25 w 59"/>
                <a:gd name="T7" fmla="*/ 17 h 84"/>
                <a:gd name="T8" fmla="*/ 6 w 59"/>
                <a:gd name="T9" fmla="*/ 60 h 84"/>
                <a:gd name="T10" fmla="*/ 14 w 59"/>
                <a:gd name="T11" fmla="*/ 51 h 84"/>
                <a:gd name="T12" fmla="*/ 22 w 59"/>
                <a:gd name="T13" fmla="*/ 41 h 84"/>
                <a:gd name="T14" fmla="*/ 11 w 59"/>
                <a:gd name="T15" fmla="*/ 62 h 84"/>
                <a:gd name="T16" fmla="*/ 29 w 59"/>
                <a:gd name="T17" fmla="*/ 4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84">
                  <a:moveTo>
                    <a:pt x="29" y="45"/>
                  </a:moveTo>
                  <a:lnTo>
                    <a:pt x="29" y="45"/>
                  </a:lnTo>
                  <a:cubicBezTo>
                    <a:pt x="46" y="15"/>
                    <a:pt x="42" y="19"/>
                    <a:pt x="59" y="0"/>
                  </a:cubicBezTo>
                  <a:cubicBezTo>
                    <a:pt x="40" y="18"/>
                    <a:pt x="37" y="12"/>
                    <a:pt x="25" y="17"/>
                  </a:cubicBezTo>
                  <a:cubicBezTo>
                    <a:pt x="18" y="35"/>
                    <a:pt x="0" y="68"/>
                    <a:pt x="6" y="60"/>
                  </a:cubicBezTo>
                  <a:cubicBezTo>
                    <a:pt x="6" y="60"/>
                    <a:pt x="10" y="55"/>
                    <a:pt x="14" y="51"/>
                  </a:cubicBezTo>
                  <a:cubicBezTo>
                    <a:pt x="18" y="46"/>
                    <a:pt x="22" y="41"/>
                    <a:pt x="22" y="41"/>
                  </a:cubicBezTo>
                  <a:lnTo>
                    <a:pt x="11" y="62"/>
                  </a:lnTo>
                  <a:cubicBezTo>
                    <a:pt x="5" y="84"/>
                    <a:pt x="31" y="29"/>
                    <a:pt x="29" y="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61">
              <a:extLst>
                <a:ext uri="{FF2B5EF4-FFF2-40B4-BE49-F238E27FC236}">
                  <a16:creationId xmlns:a16="http://schemas.microsoft.com/office/drawing/2014/main" id="{CF1B019F-3FCA-4936-B240-E72E3AA76FE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76" y="687"/>
              <a:ext cx="5" cy="5"/>
            </a:xfrm>
            <a:custGeom>
              <a:avLst/>
              <a:gdLst>
                <a:gd name="T0" fmla="*/ 24 w 25"/>
                <a:gd name="T1" fmla="*/ 25 h 25"/>
                <a:gd name="T2" fmla="*/ 24 w 25"/>
                <a:gd name="T3" fmla="*/ 25 h 25"/>
                <a:gd name="T4" fmla="*/ 6 w 25"/>
                <a:gd name="T5" fmla="*/ 0 h 25"/>
                <a:gd name="T6" fmla="*/ 24 w 25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25">
                  <a:moveTo>
                    <a:pt x="24" y="25"/>
                  </a:moveTo>
                  <a:lnTo>
                    <a:pt x="24" y="25"/>
                  </a:lnTo>
                  <a:cubicBezTo>
                    <a:pt x="20" y="15"/>
                    <a:pt x="13" y="8"/>
                    <a:pt x="6" y="0"/>
                  </a:cubicBezTo>
                  <a:cubicBezTo>
                    <a:pt x="0" y="18"/>
                    <a:pt x="25" y="22"/>
                    <a:pt x="24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7" name="Group 164">
            <a:extLst>
              <a:ext uri="{FF2B5EF4-FFF2-40B4-BE49-F238E27FC236}">
                <a16:creationId xmlns:a16="http://schemas.microsoft.com/office/drawing/2014/main" id="{96FEE268-6BAA-44F4-858F-4ACFD4DDED1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712398" y="5162695"/>
            <a:ext cx="263477" cy="429485"/>
            <a:chOff x="1841" y="583"/>
            <a:chExt cx="419" cy="683"/>
          </a:xfrm>
          <a:solidFill>
            <a:schemeClr val="accent1"/>
          </a:solidFill>
        </p:grpSpPr>
        <p:sp>
          <p:nvSpPr>
            <p:cNvPr id="118" name="Freeform 165">
              <a:extLst>
                <a:ext uri="{FF2B5EF4-FFF2-40B4-BE49-F238E27FC236}">
                  <a16:creationId xmlns:a16="http://schemas.microsoft.com/office/drawing/2014/main" id="{EE3BF91F-D8C2-4504-9513-8DEE1A7BE9FB}"/>
                </a:ext>
              </a:extLst>
            </p:cNvPr>
            <p:cNvSpPr>
              <a:spLocks/>
            </p:cNvSpPr>
            <p:nvPr/>
          </p:nvSpPr>
          <p:spPr bwMode="gray">
            <a:xfrm>
              <a:off x="2254" y="1221"/>
              <a:ext cx="6" cy="5"/>
            </a:xfrm>
            <a:custGeom>
              <a:avLst/>
              <a:gdLst>
                <a:gd name="T0" fmla="*/ 16 w 30"/>
                <a:gd name="T1" fmla="*/ 27 h 27"/>
                <a:gd name="T2" fmla="*/ 16 w 30"/>
                <a:gd name="T3" fmla="*/ 27 h 27"/>
                <a:gd name="T4" fmla="*/ 0 w 30"/>
                <a:gd name="T5" fmla="*/ 19 h 27"/>
                <a:gd name="T6" fmla="*/ 16 w 30"/>
                <a:gd name="T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27">
                  <a:moveTo>
                    <a:pt x="16" y="27"/>
                  </a:moveTo>
                  <a:lnTo>
                    <a:pt x="16" y="27"/>
                  </a:lnTo>
                  <a:cubicBezTo>
                    <a:pt x="30" y="0"/>
                    <a:pt x="13" y="18"/>
                    <a:pt x="0" y="19"/>
                  </a:cubicBezTo>
                  <a:lnTo>
                    <a:pt x="16" y="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66">
              <a:extLst>
                <a:ext uri="{FF2B5EF4-FFF2-40B4-BE49-F238E27FC236}">
                  <a16:creationId xmlns:a16="http://schemas.microsoft.com/office/drawing/2014/main" id="{9592B4D2-4D2A-4D80-BE24-7780745210DE}"/>
                </a:ext>
              </a:extLst>
            </p:cNvPr>
            <p:cNvSpPr>
              <a:spLocks/>
            </p:cNvSpPr>
            <p:nvPr/>
          </p:nvSpPr>
          <p:spPr bwMode="gray">
            <a:xfrm>
              <a:off x="2252" y="1224"/>
              <a:ext cx="2" cy="1"/>
            </a:xfrm>
            <a:custGeom>
              <a:avLst/>
              <a:gdLst>
                <a:gd name="T0" fmla="*/ 11 w 11"/>
                <a:gd name="T1" fmla="*/ 5 h 6"/>
                <a:gd name="T2" fmla="*/ 11 w 11"/>
                <a:gd name="T3" fmla="*/ 5 h 6"/>
                <a:gd name="T4" fmla="*/ 0 w 11"/>
                <a:gd name="T5" fmla="*/ 0 h 6"/>
                <a:gd name="T6" fmla="*/ 11 w 11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6">
                  <a:moveTo>
                    <a:pt x="11" y="5"/>
                  </a:moveTo>
                  <a:lnTo>
                    <a:pt x="11" y="5"/>
                  </a:lnTo>
                  <a:lnTo>
                    <a:pt x="0" y="0"/>
                  </a:lnTo>
                  <a:cubicBezTo>
                    <a:pt x="3" y="5"/>
                    <a:pt x="7" y="6"/>
                    <a:pt x="11" y="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67">
              <a:extLst>
                <a:ext uri="{FF2B5EF4-FFF2-40B4-BE49-F238E27FC236}">
                  <a16:creationId xmlns:a16="http://schemas.microsoft.com/office/drawing/2014/main" id="{261A3097-638A-4EF9-B6CD-3AB9CFB17E89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4" y="1211"/>
              <a:ext cx="14" cy="11"/>
            </a:xfrm>
            <a:custGeom>
              <a:avLst/>
              <a:gdLst>
                <a:gd name="T0" fmla="*/ 0 w 72"/>
                <a:gd name="T1" fmla="*/ 41 h 56"/>
                <a:gd name="T2" fmla="*/ 0 w 72"/>
                <a:gd name="T3" fmla="*/ 41 h 56"/>
                <a:gd name="T4" fmla="*/ 72 w 72"/>
                <a:gd name="T5" fmla="*/ 23 h 56"/>
                <a:gd name="T6" fmla="*/ 0 w 72"/>
                <a:gd name="T7" fmla="*/ 4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56">
                  <a:moveTo>
                    <a:pt x="0" y="41"/>
                  </a:moveTo>
                  <a:lnTo>
                    <a:pt x="0" y="41"/>
                  </a:lnTo>
                  <a:cubicBezTo>
                    <a:pt x="27" y="22"/>
                    <a:pt x="53" y="56"/>
                    <a:pt x="72" y="23"/>
                  </a:cubicBezTo>
                  <a:cubicBezTo>
                    <a:pt x="50" y="0"/>
                    <a:pt x="10" y="4"/>
                    <a:pt x="0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68">
              <a:extLst>
                <a:ext uri="{FF2B5EF4-FFF2-40B4-BE49-F238E27FC236}">
                  <a16:creationId xmlns:a16="http://schemas.microsoft.com/office/drawing/2014/main" id="{E0C6398F-55F4-41AD-A2FB-B1D21715222A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7" y="1220"/>
              <a:ext cx="5" cy="5"/>
            </a:xfrm>
            <a:custGeom>
              <a:avLst/>
              <a:gdLst>
                <a:gd name="T0" fmla="*/ 20 w 25"/>
                <a:gd name="T1" fmla="*/ 18 h 27"/>
                <a:gd name="T2" fmla="*/ 20 w 25"/>
                <a:gd name="T3" fmla="*/ 18 h 27"/>
                <a:gd name="T4" fmla="*/ 25 w 25"/>
                <a:gd name="T5" fmla="*/ 0 h 27"/>
                <a:gd name="T6" fmla="*/ 0 w 25"/>
                <a:gd name="T7" fmla="*/ 27 h 27"/>
                <a:gd name="T8" fmla="*/ 20 w 25"/>
                <a:gd name="T9" fmla="*/ 1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7">
                  <a:moveTo>
                    <a:pt x="20" y="18"/>
                  </a:moveTo>
                  <a:lnTo>
                    <a:pt x="20" y="18"/>
                  </a:lnTo>
                  <a:lnTo>
                    <a:pt x="25" y="0"/>
                  </a:lnTo>
                  <a:lnTo>
                    <a:pt x="0" y="27"/>
                  </a:lnTo>
                  <a:lnTo>
                    <a:pt x="20" y="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69">
              <a:extLst>
                <a:ext uri="{FF2B5EF4-FFF2-40B4-BE49-F238E27FC236}">
                  <a16:creationId xmlns:a16="http://schemas.microsoft.com/office/drawing/2014/main" id="{1406CE3B-A8ED-45E8-9D24-51B42E32BD29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6" y="1226"/>
              <a:ext cx="7" cy="3"/>
            </a:xfrm>
            <a:custGeom>
              <a:avLst/>
              <a:gdLst>
                <a:gd name="T0" fmla="*/ 38 w 38"/>
                <a:gd name="T1" fmla="*/ 7 h 15"/>
                <a:gd name="T2" fmla="*/ 38 w 38"/>
                <a:gd name="T3" fmla="*/ 7 h 15"/>
                <a:gd name="T4" fmla="*/ 36 w 38"/>
                <a:gd name="T5" fmla="*/ 0 h 15"/>
                <a:gd name="T6" fmla="*/ 0 w 38"/>
                <a:gd name="T7" fmla="*/ 15 h 15"/>
                <a:gd name="T8" fmla="*/ 38 w 38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15">
                  <a:moveTo>
                    <a:pt x="38" y="7"/>
                  </a:moveTo>
                  <a:lnTo>
                    <a:pt x="38" y="7"/>
                  </a:lnTo>
                  <a:lnTo>
                    <a:pt x="36" y="0"/>
                  </a:lnTo>
                  <a:lnTo>
                    <a:pt x="0" y="15"/>
                  </a:lnTo>
                  <a:lnTo>
                    <a:pt x="38" y="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70">
              <a:extLst>
                <a:ext uri="{FF2B5EF4-FFF2-40B4-BE49-F238E27FC236}">
                  <a16:creationId xmlns:a16="http://schemas.microsoft.com/office/drawing/2014/main" id="{51DDFB47-1A53-4A64-A53D-AEC6FAE1385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" y="1206"/>
              <a:ext cx="15" cy="18"/>
            </a:xfrm>
            <a:custGeom>
              <a:avLst/>
              <a:gdLst>
                <a:gd name="T0" fmla="*/ 10 w 84"/>
                <a:gd name="T1" fmla="*/ 49 h 100"/>
                <a:gd name="T2" fmla="*/ 10 w 84"/>
                <a:gd name="T3" fmla="*/ 49 h 100"/>
                <a:gd name="T4" fmla="*/ 35 w 84"/>
                <a:gd name="T5" fmla="*/ 46 h 100"/>
                <a:gd name="T6" fmla="*/ 31 w 84"/>
                <a:gd name="T7" fmla="*/ 97 h 100"/>
                <a:gd name="T8" fmla="*/ 84 w 84"/>
                <a:gd name="T9" fmla="*/ 57 h 100"/>
                <a:gd name="T10" fmla="*/ 32 w 84"/>
                <a:gd name="T11" fmla="*/ 15 h 100"/>
                <a:gd name="T12" fmla="*/ 10 w 84"/>
                <a:gd name="T13" fmla="*/ 4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00">
                  <a:moveTo>
                    <a:pt x="10" y="49"/>
                  </a:moveTo>
                  <a:lnTo>
                    <a:pt x="10" y="49"/>
                  </a:lnTo>
                  <a:lnTo>
                    <a:pt x="35" y="46"/>
                  </a:lnTo>
                  <a:cubicBezTo>
                    <a:pt x="56" y="74"/>
                    <a:pt x="17" y="79"/>
                    <a:pt x="31" y="97"/>
                  </a:cubicBezTo>
                  <a:cubicBezTo>
                    <a:pt x="62" y="100"/>
                    <a:pt x="46" y="45"/>
                    <a:pt x="84" y="57"/>
                  </a:cubicBezTo>
                  <a:cubicBezTo>
                    <a:pt x="84" y="33"/>
                    <a:pt x="22" y="52"/>
                    <a:pt x="32" y="15"/>
                  </a:cubicBezTo>
                  <a:cubicBezTo>
                    <a:pt x="0" y="0"/>
                    <a:pt x="28" y="37"/>
                    <a:pt x="10" y="4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171">
              <a:extLst>
                <a:ext uri="{FF2B5EF4-FFF2-40B4-BE49-F238E27FC236}">
                  <a16:creationId xmlns:a16="http://schemas.microsoft.com/office/drawing/2014/main" id="{8110556A-3045-4BA0-837E-4E7F454FD94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" y="1263"/>
              <a:ext cx="1" cy="1"/>
            </a:xfrm>
            <a:custGeom>
              <a:avLst/>
              <a:gdLst>
                <a:gd name="T0" fmla="*/ 6 w 7"/>
                <a:gd name="T1" fmla="*/ 4 h 8"/>
                <a:gd name="T2" fmla="*/ 6 w 7"/>
                <a:gd name="T3" fmla="*/ 4 h 8"/>
                <a:gd name="T4" fmla="*/ 6 w 7"/>
                <a:gd name="T5" fmla="*/ 0 h 8"/>
                <a:gd name="T6" fmla="*/ 6 w 7"/>
                <a:gd name="T7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8">
                  <a:moveTo>
                    <a:pt x="6" y="4"/>
                  </a:moveTo>
                  <a:lnTo>
                    <a:pt x="6" y="4"/>
                  </a:lnTo>
                  <a:cubicBezTo>
                    <a:pt x="7" y="2"/>
                    <a:pt x="6" y="2"/>
                    <a:pt x="6" y="0"/>
                  </a:cubicBezTo>
                  <a:cubicBezTo>
                    <a:pt x="2" y="5"/>
                    <a:pt x="0" y="8"/>
                    <a:pt x="6" y="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72">
              <a:extLst>
                <a:ext uri="{FF2B5EF4-FFF2-40B4-BE49-F238E27FC236}">
                  <a16:creationId xmlns:a16="http://schemas.microsoft.com/office/drawing/2014/main" id="{01E42C70-CBA9-414E-9DAB-CC39E9A373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8" y="1214"/>
              <a:ext cx="3" cy="3"/>
            </a:xfrm>
            <a:custGeom>
              <a:avLst/>
              <a:gdLst>
                <a:gd name="T0" fmla="*/ 0 w 14"/>
                <a:gd name="T1" fmla="*/ 18 h 18"/>
                <a:gd name="T2" fmla="*/ 0 w 14"/>
                <a:gd name="T3" fmla="*/ 18 h 18"/>
                <a:gd name="T4" fmla="*/ 14 w 14"/>
                <a:gd name="T5" fmla="*/ 0 h 18"/>
                <a:gd name="T6" fmla="*/ 0 w 14"/>
                <a:gd name="T7" fmla="*/ 10 h 18"/>
                <a:gd name="T8" fmla="*/ 0 w 14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8">
                  <a:moveTo>
                    <a:pt x="0" y="18"/>
                  </a:moveTo>
                  <a:lnTo>
                    <a:pt x="0" y="18"/>
                  </a:lnTo>
                  <a:cubicBezTo>
                    <a:pt x="6" y="12"/>
                    <a:pt x="10" y="6"/>
                    <a:pt x="14" y="0"/>
                  </a:cubicBezTo>
                  <a:cubicBezTo>
                    <a:pt x="9" y="3"/>
                    <a:pt x="4" y="6"/>
                    <a:pt x="0" y="10"/>
                  </a:cubicBezTo>
                  <a:lnTo>
                    <a:pt x="0" y="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73">
              <a:extLst>
                <a:ext uri="{FF2B5EF4-FFF2-40B4-BE49-F238E27FC236}">
                  <a16:creationId xmlns:a16="http://schemas.microsoft.com/office/drawing/2014/main" id="{80905712-E6B9-4EED-9605-0B331A6A74BF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5" y="1239"/>
              <a:ext cx="3" cy="2"/>
            </a:xfrm>
            <a:custGeom>
              <a:avLst/>
              <a:gdLst>
                <a:gd name="T0" fmla="*/ 0 w 17"/>
                <a:gd name="T1" fmla="*/ 1 h 9"/>
                <a:gd name="T2" fmla="*/ 0 w 17"/>
                <a:gd name="T3" fmla="*/ 1 h 9"/>
                <a:gd name="T4" fmla="*/ 17 w 17"/>
                <a:gd name="T5" fmla="*/ 9 h 9"/>
                <a:gd name="T6" fmla="*/ 0 w 17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9">
                  <a:moveTo>
                    <a:pt x="0" y="1"/>
                  </a:moveTo>
                  <a:lnTo>
                    <a:pt x="0" y="1"/>
                  </a:lnTo>
                  <a:cubicBezTo>
                    <a:pt x="6" y="4"/>
                    <a:pt x="11" y="7"/>
                    <a:pt x="17" y="9"/>
                  </a:cubicBezTo>
                  <a:cubicBezTo>
                    <a:pt x="15" y="4"/>
                    <a:pt x="11" y="0"/>
                    <a:pt x="0" y="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74">
              <a:extLst>
                <a:ext uri="{FF2B5EF4-FFF2-40B4-BE49-F238E27FC236}">
                  <a16:creationId xmlns:a16="http://schemas.microsoft.com/office/drawing/2014/main" id="{99297502-C9E8-4AD0-8CCC-3D68B02C4766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7" y="951"/>
              <a:ext cx="1" cy="2"/>
            </a:xfrm>
            <a:custGeom>
              <a:avLst/>
              <a:gdLst>
                <a:gd name="T0" fmla="*/ 0 w 9"/>
                <a:gd name="T1" fmla="*/ 2 h 10"/>
                <a:gd name="T2" fmla="*/ 0 w 9"/>
                <a:gd name="T3" fmla="*/ 2 h 10"/>
                <a:gd name="T4" fmla="*/ 8 w 9"/>
                <a:gd name="T5" fmla="*/ 10 h 10"/>
                <a:gd name="T6" fmla="*/ 9 w 9"/>
                <a:gd name="T7" fmla="*/ 10 h 10"/>
                <a:gd name="T8" fmla="*/ 3 w 9"/>
                <a:gd name="T9" fmla="*/ 0 h 10"/>
                <a:gd name="T10" fmla="*/ 0 w 9"/>
                <a:gd name="T11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0">
                  <a:moveTo>
                    <a:pt x="0" y="2"/>
                  </a:moveTo>
                  <a:lnTo>
                    <a:pt x="0" y="2"/>
                  </a:lnTo>
                  <a:cubicBezTo>
                    <a:pt x="2" y="4"/>
                    <a:pt x="4" y="7"/>
                    <a:pt x="8" y="10"/>
                  </a:cubicBezTo>
                  <a:cubicBezTo>
                    <a:pt x="8" y="10"/>
                    <a:pt x="8" y="10"/>
                    <a:pt x="9" y="10"/>
                  </a:cubicBez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75">
              <a:extLst>
                <a:ext uri="{FF2B5EF4-FFF2-40B4-BE49-F238E27FC236}">
                  <a16:creationId xmlns:a16="http://schemas.microsoft.com/office/drawing/2014/main" id="{80F8C4C5-BCCC-44B4-9CC9-0A2DB4489B17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0" y="1119"/>
              <a:ext cx="4" cy="5"/>
            </a:xfrm>
            <a:custGeom>
              <a:avLst/>
              <a:gdLst>
                <a:gd name="T0" fmla="*/ 0 w 22"/>
                <a:gd name="T1" fmla="*/ 25 h 25"/>
                <a:gd name="T2" fmla="*/ 0 w 22"/>
                <a:gd name="T3" fmla="*/ 25 h 25"/>
                <a:gd name="T4" fmla="*/ 22 w 22"/>
                <a:gd name="T5" fmla="*/ 0 h 25"/>
                <a:gd name="T6" fmla="*/ 0 w 22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5">
                  <a:moveTo>
                    <a:pt x="0" y="25"/>
                  </a:moveTo>
                  <a:lnTo>
                    <a:pt x="0" y="25"/>
                  </a:lnTo>
                  <a:cubicBezTo>
                    <a:pt x="8" y="17"/>
                    <a:pt x="16" y="8"/>
                    <a:pt x="22" y="0"/>
                  </a:cubicBezTo>
                  <a:cubicBezTo>
                    <a:pt x="6" y="13"/>
                    <a:pt x="1" y="20"/>
                    <a:pt x="0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76">
              <a:extLst>
                <a:ext uri="{FF2B5EF4-FFF2-40B4-BE49-F238E27FC236}">
                  <a16:creationId xmlns:a16="http://schemas.microsoft.com/office/drawing/2014/main" id="{8EBBCC89-3DCA-4DD6-8040-9BF18CEA160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9" y="1236"/>
              <a:ext cx="2" cy="1"/>
            </a:xfrm>
            <a:custGeom>
              <a:avLst/>
              <a:gdLst>
                <a:gd name="T0" fmla="*/ 8 w 10"/>
                <a:gd name="T1" fmla="*/ 0 h 4"/>
                <a:gd name="T2" fmla="*/ 8 w 10"/>
                <a:gd name="T3" fmla="*/ 0 h 4"/>
                <a:gd name="T4" fmla="*/ 0 w 10"/>
                <a:gd name="T5" fmla="*/ 0 h 4"/>
                <a:gd name="T6" fmla="*/ 10 w 10"/>
                <a:gd name="T7" fmla="*/ 4 h 4"/>
                <a:gd name="T8" fmla="*/ 8 w 10"/>
                <a:gd name="T9" fmla="*/ 0 h 4"/>
                <a:gd name="T10" fmla="*/ 8 w 10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4">
                  <a:moveTo>
                    <a:pt x="8" y="0"/>
                  </a:moveTo>
                  <a:lnTo>
                    <a:pt x="8" y="0"/>
                  </a:lnTo>
                  <a:cubicBezTo>
                    <a:pt x="5" y="0"/>
                    <a:pt x="2" y="0"/>
                    <a:pt x="0" y="0"/>
                  </a:cubicBezTo>
                  <a:cubicBezTo>
                    <a:pt x="2" y="2"/>
                    <a:pt x="6" y="3"/>
                    <a:pt x="10" y="4"/>
                  </a:cubicBezTo>
                  <a:cubicBezTo>
                    <a:pt x="10" y="4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77">
              <a:extLst>
                <a:ext uri="{FF2B5EF4-FFF2-40B4-BE49-F238E27FC236}">
                  <a16:creationId xmlns:a16="http://schemas.microsoft.com/office/drawing/2014/main" id="{BB18D11B-8363-4BB1-81C1-369CDA72C3F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6" y="1245"/>
              <a:ext cx="1" cy="4"/>
            </a:xfrm>
            <a:custGeom>
              <a:avLst/>
              <a:gdLst>
                <a:gd name="T0" fmla="*/ 0 w 4"/>
                <a:gd name="T1" fmla="*/ 21 h 21"/>
                <a:gd name="T2" fmla="*/ 0 w 4"/>
                <a:gd name="T3" fmla="*/ 21 h 21"/>
                <a:gd name="T4" fmla="*/ 4 w 4"/>
                <a:gd name="T5" fmla="*/ 0 h 21"/>
                <a:gd name="T6" fmla="*/ 0 w 4"/>
                <a:gd name="T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1">
                  <a:moveTo>
                    <a:pt x="0" y="21"/>
                  </a:moveTo>
                  <a:lnTo>
                    <a:pt x="0" y="21"/>
                  </a:lnTo>
                  <a:cubicBezTo>
                    <a:pt x="2" y="12"/>
                    <a:pt x="4" y="5"/>
                    <a:pt x="4" y="0"/>
                  </a:cubicBezTo>
                  <a:cubicBezTo>
                    <a:pt x="1" y="7"/>
                    <a:pt x="0" y="14"/>
                    <a:pt x="0" y="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78">
              <a:extLst>
                <a:ext uri="{FF2B5EF4-FFF2-40B4-BE49-F238E27FC236}">
                  <a16:creationId xmlns:a16="http://schemas.microsoft.com/office/drawing/2014/main" id="{C4E23E2E-BB14-408A-AF72-71681E8F8B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3" y="1201"/>
              <a:ext cx="3" cy="3"/>
            </a:xfrm>
            <a:custGeom>
              <a:avLst/>
              <a:gdLst>
                <a:gd name="T0" fmla="*/ 18 w 18"/>
                <a:gd name="T1" fmla="*/ 4 h 14"/>
                <a:gd name="T2" fmla="*/ 18 w 18"/>
                <a:gd name="T3" fmla="*/ 4 h 14"/>
                <a:gd name="T4" fmla="*/ 0 w 18"/>
                <a:gd name="T5" fmla="*/ 7 h 14"/>
                <a:gd name="T6" fmla="*/ 18 w 18"/>
                <a:gd name="T7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4">
                  <a:moveTo>
                    <a:pt x="18" y="4"/>
                  </a:moveTo>
                  <a:lnTo>
                    <a:pt x="18" y="4"/>
                  </a:lnTo>
                  <a:cubicBezTo>
                    <a:pt x="11" y="0"/>
                    <a:pt x="5" y="3"/>
                    <a:pt x="0" y="7"/>
                  </a:cubicBezTo>
                  <a:cubicBezTo>
                    <a:pt x="4" y="13"/>
                    <a:pt x="10" y="14"/>
                    <a:pt x="18" y="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79">
              <a:extLst>
                <a:ext uri="{FF2B5EF4-FFF2-40B4-BE49-F238E27FC236}">
                  <a16:creationId xmlns:a16="http://schemas.microsoft.com/office/drawing/2014/main" id="{32C74BD8-F093-4B0D-89E8-790D730BFC2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8" y="1201"/>
              <a:ext cx="0" cy="1"/>
            </a:xfrm>
            <a:custGeom>
              <a:avLst/>
              <a:gdLst>
                <a:gd name="T0" fmla="*/ 0 w 1"/>
                <a:gd name="T1" fmla="*/ 5 h 5"/>
                <a:gd name="T2" fmla="*/ 0 w 1"/>
                <a:gd name="T3" fmla="*/ 5 h 5"/>
                <a:gd name="T4" fmla="*/ 1 w 1"/>
                <a:gd name="T5" fmla="*/ 5 h 5"/>
                <a:gd name="T6" fmla="*/ 0 w 1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5">
                  <a:moveTo>
                    <a:pt x="0" y="5"/>
                  </a:moveTo>
                  <a:lnTo>
                    <a:pt x="0" y="5"/>
                  </a:lnTo>
                  <a:cubicBezTo>
                    <a:pt x="1" y="5"/>
                    <a:pt x="1" y="5"/>
                    <a:pt x="1" y="5"/>
                  </a:cubicBezTo>
                  <a:cubicBezTo>
                    <a:pt x="1" y="0"/>
                    <a:pt x="0" y="1"/>
                    <a:pt x="0" y="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80">
              <a:extLst>
                <a:ext uri="{FF2B5EF4-FFF2-40B4-BE49-F238E27FC236}">
                  <a16:creationId xmlns:a16="http://schemas.microsoft.com/office/drawing/2014/main" id="{EE2A9A1A-6162-423D-8557-5DF07AA47FF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0" y="1200"/>
              <a:ext cx="0" cy="1"/>
            </a:xfrm>
            <a:custGeom>
              <a:avLst/>
              <a:gdLst>
                <a:gd name="T0" fmla="*/ 0 w 1"/>
                <a:gd name="T1" fmla="*/ 4 h 4"/>
                <a:gd name="T2" fmla="*/ 0 w 1"/>
                <a:gd name="T3" fmla="*/ 4 h 4"/>
                <a:gd name="T4" fmla="*/ 1 w 1"/>
                <a:gd name="T5" fmla="*/ 4 h 4"/>
                <a:gd name="T6" fmla="*/ 0 w 1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4">
                  <a:moveTo>
                    <a:pt x="0" y="4"/>
                  </a:moveTo>
                  <a:lnTo>
                    <a:pt x="0" y="4"/>
                  </a:lnTo>
                  <a:cubicBezTo>
                    <a:pt x="0" y="4"/>
                    <a:pt x="1" y="4"/>
                    <a:pt x="1" y="4"/>
                  </a:cubicBezTo>
                  <a:cubicBezTo>
                    <a:pt x="0" y="0"/>
                    <a:pt x="0" y="0"/>
                    <a:pt x="0" y="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81">
              <a:extLst>
                <a:ext uri="{FF2B5EF4-FFF2-40B4-BE49-F238E27FC236}">
                  <a16:creationId xmlns:a16="http://schemas.microsoft.com/office/drawing/2014/main" id="{751CFB47-A29A-475F-8300-A4D223A8A9A9}"/>
                </a:ext>
              </a:extLst>
            </p:cNvPr>
            <p:cNvSpPr>
              <a:spLocks/>
            </p:cNvSpPr>
            <p:nvPr/>
          </p:nvSpPr>
          <p:spPr bwMode="gray">
            <a:xfrm>
              <a:off x="2130" y="1191"/>
              <a:ext cx="13" cy="18"/>
            </a:xfrm>
            <a:custGeom>
              <a:avLst/>
              <a:gdLst>
                <a:gd name="T0" fmla="*/ 64 w 64"/>
                <a:gd name="T1" fmla="*/ 64 h 100"/>
                <a:gd name="T2" fmla="*/ 64 w 64"/>
                <a:gd name="T3" fmla="*/ 64 h 100"/>
                <a:gd name="T4" fmla="*/ 32 w 64"/>
                <a:gd name="T5" fmla="*/ 53 h 100"/>
                <a:gd name="T6" fmla="*/ 35 w 64"/>
                <a:gd name="T7" fmla="*/ 60 h 100"/>
                <a:gd name="T8" fmla="*/ 0 w 64"/>
                <a:gd name="T9" fmla="*/ 69 h 100"/>
                <a:gd name="T10" fmla="*/ 4 w 64"/>
                <a:gd name="T11" fmla="*/ 82 h 100"/>
                <a:gd name="T12" fmla="*/ 28 w 64"/>
                <a:gd name="T13" fmla="*/ 88 h 100"/>
                <a:gd name="T14" fmla="*/ 64 w 64"/>
                <a:gd name="T15" fmla="*/ 6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100">
                  <a:moveTo>
                    <a:pt x="64" y="64"/>
                  </a:moveTo>
                  <a:lnTo>
                    <a:pt x="64" y="64"/>
                  </a:lnTo>
                  <a:cubicBezTo>
                    <a:pt x="52" y="48"/>
                    <a:pt x="50" y="0"/>
                    <a:pt x="32" y="53"/>
                  </a:cubicBezTo>
                  <a:lnTo>
                    <a:pt x="35" y="60"/>
                  </a:lnTo>
                  <a:cubicBezTo>
                    <a:pt x="26" y="47"/>
                    <a:pt x="11" y="68"/>
                    <a:pt x="0" y="69"/>
                  </a:cubicBezTo>
                  <a:cubicBezTo>
                    <a:pt x="1" y="74"/>
                    <a:pt x="2" y="78"/>
                    <a:pt x="4" y="82"/>
                  </a:cubicBezTo>
                  <a:cubicBezTo>
                    <a:pt x="9" y="83"/>
                    <a:pt x="17" y="84"/>
                    <a:pt x="28" y="88"/>
                  </a:cubicBezTo>
                  <a:cubicBezTo>
                    <a:pt x="41" y="100"/>
                    <a:pt x="50" y="75"/>
                    <a:pt x="64" y="6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82">
              <a:extLst>
                <a:ext uri="{FF2B5EF4-FFF2-40B4-BE49-F238E27FC236}">
                  <a16:creationId xmlns:a16="http://schemas.microsoft.com/office/drawing/2014/main" id="{492765DB-71BD-4354-A6D2-F43F3D772CE1}"/>
                </a:ext>
              </a:extLst>
            </p:cNvPr>
            <p:cNvSpPr>
              <a:spLocks/>
            </p:cNvSpPr>
            <p:nvPr/>
          </p:nvSpPr>
          <p:spPr bwMode="gray">
            <a:xfrm>
              <a:off x="1890" y="1261"/>
              <a:ext cx="4" cy="2"/>
            </a:xfrm>
            <a:custGeom>
              <a:avLst/>
              <a:gdLst>
                <a:gd name="T0" fmla="*/ 13 w 24"/>
                <a:gd name="T1" fmla="*/ 0 h 11"/>
                <a:gd name="T2" fmla="*/ 13 w 24"/>
                <a:gd name="T3" fmla="*/ 0 h 11"/>
                <a:gd name="T4" fmla="*/ 13 w 24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1">
                  <a:moveTo>
                    <a:pt x="13" y="0"/>
                  </a:moveTo>
                  <a:lnTo>
                    <a:pt x="13" y="0"/>
                  </a:lnTo>
                  <a:cubicBezTo>
                    <a:pt x="0" y="11"/>
                    <a:pt x="24" y="3"/>
                    <a:pt x="1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83">
              <a:extLst>
                <a:ext uri="{FF2B5EF4-FFF2-40B4-BE49-F238E27FC236}">
                  <a16:creationId xmlns:a16="http://schemas.microsoft.com/office/drawing/2014/main" id="{A52037FF-FBAC-4D5B-9B42-4D401E9054D9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5" y="1248"/>
              <a:ext cx="3" cy="0"/>
            </a:xfrm>
            <a:custGeom>
              <a:avLst/>
              <a:gdLst>
                <a:gd name="T0" fmla="*/ 15 w 15"/>
                <a:gd name="T1" fmla="*/ 0 h 3"/>
                <a:gd name="T2" fmla="*/ 15 w 15"/>
                <a:gd name="T3" fmla="*/ 0 h 3"/>
                <a:gd name="T4" fmla="*/ 0 w 15"/>
                <a:gd name="T5" fmla="*/ 0 h 3"/>
                <a:gd name="T6" fmla="*/ 15 w 1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">
                  <a:moveTo>
                    <a:pt x="15" y="0"/>
                  </a:moveTo>
                  <a:lnTo>
                    <a:pt x="15" y="0"/>
                  </a:lnTo>
                  <a:cubicBezTo>
                    <a:pt x="10" y="0"/>
                    <a:pt x="5" y="0"/>
                    <a:pt x="0" y="0"/>
                  </a:cubicBezTo>
                  <a:cubicBezTo>
                    <a:pt x="3" y="2"/>
                    <a:pt x="7" y="3"/>
                    <a:pt x="1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84">
              <a:extLst>
                <a:ext uri="{FF2B5EF4-FFF2-40B4-BE49-F238E27FC236}">
                  <a16:creationId xmlns:a16="http://schemas.microsoft.com/office/drawing/2014/main" id="{3308B32A-CE9B-413C-8A0A-D27559F01355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8" y="1241"/>
              <a:ext cx="1" cy="2"/>
            </a:xfrm>
            <a:custGeom>
              <a:avLst/>
              <a:gdLst>
                <a:gd name="T0" fmla="*/ 3 w 3"/>
                <a:gd name="T1" fmla="*/ 3 h 6"/>
                <a:gd name="T2" fmla="*/ 3 w 3"/>
                <a:gd name="T3" fmla="*/ 3 h 6"/>
                <a:gd name="T4" fmla="*/ 0 w 3"/>
                <a:gd name="T5" fmla="*/ 0 h 6"/>
                <a:gd name="T6" fmla="*/ 3 w 3"/>
                <a:gd name="T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3"/>
                  </a:moveTo>
                  <a:lnTo>
                    <a:pt x="3" y="3"/>
                  </a:lnTo>
                  <a:cubicBezTo>
                    <a:pt x="2" y="2"/>
                    <a:pt x="1" y="1"/>
                    <a:pt x="0" y="0"/>
                  </a:cubicBezTo>
                  <a:cubicBezTo>
                    <a:pt x="0" y="6"/>
                    <a:pt x="2" y="5"/>
                    <a:pt x="3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85">
              <a:extLst>
                <a:ext uri="{FF2B5EF4-FFF2-40B4-BE49-F238E27FC236}">
                  <a16:creationId xmlns:a16="http://schemas.microsoft.com/office/drawing/2014/main" id="{F1515741-57DC-4E14-8542-AD6506DD93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2" y="1247"/>
              <a:ext cx="3" cy="1"/>
            </a:xfrm>
            <a:custGeom>
              <a:avLst/>
              <a:gdLst>
                <a:gd name="T0" fmla="*/ 0 w 16"/>
                <a:gd name="T1" fmla="*/ 4 h 4"/>
                <a:gd name="T2" fmla="*/ 0 w 16"/>
                <a:gd name="T3" fmla="*/ 4 h 4"/>
                <a:gd name="T4" fmla="*/ 16 w 16"/>
                <a:gd name="T5" fmla="*/ 2 h 4"/>
                <a:gd name="T6" fmla="*/ 0 w 16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4">
                  <a:moveTo>
                    <a:pt x="0" y="4"/>
                  </a:moveTo>
                  <a:lnTo>
                    <a:pt x="0" y="4"/>
                  </a:lnTo>
                  <a:cubicBezTo>
                    <a:pt x="5" y="3"/>
                    <a:pt x="10" y="2"/>
                    <a:pt x="16" y="2"/>
                  </a:cubicBezTo>
                  <a:cubicBezTo>
                    <a:pt x="13" y="1"/>
                    <a:pt x="9" y="0"/>
                    <a:pt x="0" y="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86">
              <a:extLst>
                <a:ext uri="{FF2B5EF4-FFF2-40B4-BE49-F238E27FC236}">
                  <a16:creationId xmlns:a16="http://schemas.microsoft.com/office/drawing/2014/main" id="{C43EE2D8-A8A4-42FF-8E95-537EC37E935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21" y="1237"/>
              <a:ext cx="1" cy="1"/>
            </a:xfrm>
            <a:custGeom>
              <a:avLst/>
              <a:gdLst>
                <a:gd name="T0" fmla="*/ 2 w 2"/>
                <a:gd name="T1" fmla="*/ 1 h 1"/>
                <a:gd name="T2" fmla="*/ 2 w 2"/>
                <a:gd name="T3" fmla="*/ 1 h 1"/>
                <a:gd name="T4" fmla="*/ 0 w 2"/>
                <a:gd name="T5" fmla="*/ 0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2" y="1"/>
                  </a:lnTo>
                  <a:cubicBezTo>
                    <a:pt x="1" y="1"/>
                    <a:pt x="0" y="0"/>
                    <a:pt x="0" y="0"/>
                  </a:cubicBezTo>
                  <a:cubicBezTo>
                    <a:pt x="0" y="1"/>
                    <a:pt x="1" y="1"/>
                    <a:pt x="2" y="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87">
              <a:extLst>
                <a:ext uri="{FF2B5EF4-FFF2-40B4-BE49-F238E27FC236}">
                  <a16:creationId xmlns:a16="http://schemas.microsoft.com/office/drawing/2014/main" id="{DE9FAC8B-DAFC-468E-B457-971C5F8A30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094" y="588"/>
              <a:ext cx="11" cy="8"/>
            </a:xfrm>
            <a:custGeom>
              <a:avLst/>
              <a:gdLst>
                <a:gd name="T0" fmla="*/ 14 w 58"/>
                <a:gd name="T1" fmla="*/ 18 h 42"/>
                <a:gd name="T2" fmla="*/ 14 w 58"/>
                <a:gd name="T3" fmla="*/ 18 h 42"/>
                <a:gd name="T4" fmla="*/ 43 w 58"/>
                <a:gd name="T5" fmla="*/ 35 h 42"/>
                <a:gd name="T6" fmla="*/ 33 w 58"/>
                <a:gd name="T7" fmla="*/ 16 h 42"/>
                <a:gd name="T8" fmla="*/ 31 w 58"/>
                <a:gd name="T9" fmla="*/ 2 h 42"/>
                <a:gd name="T10" fmla="*/ 1 w 58"/>
                <a:gd name="T11" fmla="*/ 8 h 42"/>
                <a:gd name="T12" fmla="*/ 7 w 58"/>
                <a:gd name="T13" fmla="*/ 25 h 42"/>
                <a:gd name="T14" fmla="*/ 13 w 58"/>
                <a:gd name="T15" fmla="*/ 42 h 42"/>
                <a:gd name="T16" fmla="*/ 14 w 58"/>
                <a:gd name="T17" fmla="*/ 1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42">
                  <a:moveTo>
                    <a:pt x="14" y="18"/>
                  </a:moveTo>
                  <a:lnTo>
                    <a:pt x="14" y="18"/>
                  </a:lnTo>
                  <a:cubicBezTo>
                    <a:pt x="26" y="15"/>
                    <a:pt x="32" y="29"/>
                    <a:pt x="43" y="35"/>
                  </a:cubicBezTo>
                  <a:cubicBezTo>
                    <a:pt x="58" y="20"/>
                    <a:pt x="45" y="18"/>
                    <a:pt x="33" y="16"/>
                  </a:cubicBezTo>
                  <a:cubicBezTo>
                    <a:pt x="21" y="15"/>
                    <a:pt x="10" y="15"/>
                    <a:pt x="31" y="2"/>
                  </a:cubicBezTo>
                  <a:cubicBezTo>
                    <a:pt x="19" y="0"/>
                    <a:pt x="10" y="4"/>
                    <a:pt x="1" y="8"/>
                  </a:cubicBezTo>
                  <a:cubicBezTo>
                    <a:pt x="1" y="8"/>
                    <a:pt x="4" y="16"/>
                    <a:pt x="7" y="25"/>
                  </a:cubicBezTo>
                  <a:cubicBezTo>
                    <a:pt x="10" y="34"/>
                    <a:pt x="13" y="42"/>
                    <a:pt x="13" y="42"/>
                  </a:cubicBezTo>
                  <a:cubicBezTo>
                    <a:pt x="37" y="32"/>
                    <a:pt x="0" y="30"/>
                    <a:pt x="14" y="1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88">
              <a:extLst>
                <a:ext uri="{FF2B5EF4-FFF2-40B4-BE49-F238E27FC236}">
                  <a16:creationId xmlns:a16="http://schemas.microsoft.com/office/drawing/2014/main" id="{EECF1F57-BC35-4FB0-B8C3-E986C7789B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3" y="928"/>
              <a:ext cx="13" cy="13"/>
            </a:xfrm>
            <a:custGeom>
              <a:avLst/>
              <a:gdLst>
                <a:gd name="T0" fmla="*/ 44 w 72"/>
                <a:gd name="T1" fmla="*/ 56 h 68"/>
                <a:gd name="T2" fmla="*/ 44 w 72"/>
                <a:gd name="T3" fmla="*/ 56 h 68"/>
                <a:gd name="T4" fmla="*/ 40 w 72"/>
                <a:gd name="T5" fmla="*/ 58 h 68"/>
                <a:gd name="T6" fmla="*/ 72 w 72"/>
                <a:gd name="T7" fmla="*/ 57 h 68"/>
                <a:gd name="T8" fmla="*/ 11 w 72"/>
                <a:gd name="T9" fmla="*/ 0 h 68"/>
                <a:gd name="T10" fmla="*/ 0 w 72"/>
                <a:gd name="T11" fmla="*/ 15 h 68"/>
                <a:gd name="T12" fmla="*/ 44 w 72"/>
                <a:gd name="T13" fmla="*/ 5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68">
                  <a:moveTo>
                    <a:pt x="44" y="56"/>
                  </a:moveTo>
                  <a:lnTo>
                    <a:pt x="44" y="56"/>
                  </a:lnTo>
                  <a:lnTo>
                    <a:pt x="40" y="58"/>
                  </a:lnTo>
                  <a:cubicBezTo>
                    <a:pt x="54" y="64"/>
                    <a:pt x="56" y="68"/>
                    <a:pt x="72" y="57"/>
                  </a:cubicBezTo>
                  <a:cubicBezTo>
                    <a:pt x="61" y="33"/>
                    <a:pt x="19" y="35"/>
                    <a:pt x="11" y="0"/>
                  </a:cubicBezTo>
                  <a:cubicBezTo>
                    <a:pt x="11" y="6"/>
                    <a:pt x="6" y="11"/>
                    <a:pt x="0" y="15"/>
                  </a:cubicBezTo>
                  <a:cubicBezTo>
                    <a:pt x="22" y="17"/>
                    <a:pt x="35" y="37"/>
                    <a:pt x="44" y="5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89">
              <a:extLst>
                <a:ext uri="{FF2B5EF4-FFF2-40B4-BE49-F238E27FC236}">
                  <a16:creationId xmlns:a16="http://schemas.microsoft.com/office/drawing/2014/main" id="{380825B5-6940-470A-B63B-92D203E40DA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9" y="931"/>
              <a:ext cx="4" cy="1"/>
            </a:xfrm>
            <a:custGeom>
              <a:avLst/>
              <a:gdLst>
                <a:gd name="T0" fmla="*/ 19 w 19"/>
                <a:gd name="T1" fmla="*/ 1 h 7"/>
                <a:gd name="T2" fmla="*/ 19 w 19"/>
                <a:gd name="T3" fmla="*/ 1 h 7"/>
                <a:gd name="T4" fmla="*/ 17 w 19"/>
                <a:gd name="T5" fmla="*/ 1 h 7"/>
                <a:gd name="T6" fmla="*/ 8 w 19"/>
                <a:gd name="T7" fmla="*/ 0 h 7"/>
                <a:gd name="T8" fmla="*/ 0 w 19"/>
                <a:gd name="T9" fmla="*/ 6 h 7"/>
                <a:gd name="T10" fmla="*/ 19 w 19"/>
                <a:gd name="T1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7">
                  <a:moveTo>
                    <a:pt x="19" y="1"/>
                  </a:moveTo>
                  <a:lnTo>
                    <a:pt x="19" y="1"/>
                  </a:lnTo>
                  <a:cubicBezTo>
                    <a:pt x="18" y="1"/>
                    <a:pt x="18" y="1"/>
                    <a:pt x="17" y="1"/>
                  </a:cubicBezTo>
                  <a:cubicBezTo>
                    <a:pt x="14" y="0"/>
                    <a:pt x="11" y="0"/>
                    <a:pt x="8" y="0"/>
                  </a:cubicBezTo>
                  <a:cubicBezTo>
                    <a:pt x="6" y="3"/>
                    <a:pt x="3" y="5"/>
                    <a:pt x="0" y="6"/>
                  </a:cubicBezTo>
                  <a:cubicBezTo>
                    <a:pt x="6" y="7"/>
                    <a:pt x="13" y="5"/>
                    <a:pt x="19" y="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90">
              <a:extLst>
                <a:ext uri="{FF2B5EF4-FFF2-40B4-BE49-F238E27FC236}">
                  <a16:creationId xmlns:a16="http://schemas.microsoft.com/office/drawing/2014/main" id="{BF93AE2B-7351-4A56-ABFD-45DF586D637E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3" y="625"/>
              <a:ext cx="2" cy="2"/>
            </a:xfrm>
            <a:custGeom>
              <a:avLst/>
              <a:gdLst>
                <a:gd name="T0" fmla="*/ 0 w 9"/>
                <a:gd name="T1" fmla="*/ 1 h 13"/>
                <a:gd name="T2" fmla="*/ 0 w 9"/>
                <a:gd name="T3" fmla="*/ 1 h 13"/>
                <a:gd name="T4" fmla="*/ 9 w 9"/>
                <a:gd name="T5" fmla="*/ 13 h 13"/>
                <a:gd name="T6" fmla="*/ 0 w 9"/>
                <a:gd name="T7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0" y="1"/>
                  </a:moveTo>
                  <a:lnTo>
                    <a:pt x="0" y="1"/>
                  </a:lnTo>
                  <a:cubicBezTo>
                    <a:pt x="3" y="5"/>
                    <a:pt x="7" y="9"/>
                    <a:pt x="9" y="13"/>
                  </a:cubicBezTo>
                  <a:cubicBezTo>
                    <a:pt x="8" y="3"/>
                    <a:pt x="4" y="0"/>
                    <a:pt x="0" y="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91">
              <a:extLst>
                <a:ext uri="{FF2B5EF4-FFF2-40B4-BE49-F238E27FC236}">
                  <a16:creationId xmlns:a16="http://schemas.microsoft.com/office/drawing/2014/main" id="{C793AC47-622B-4B39-84E3-6C6695B4825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92" y="1166"/>
              <a:ext cx="2" cy="1"/>
            </a:xfrm>
            <a:custGeom>
              <a:avLst/>
              <a:gdLst>
                <a:gd name="T0" fmla="*/ 0 w 8"/>
                <a:gd name="T1" fmla="*/ 0 h 6"/>
                <a:gd name="T2" fmla="*/ 0 w 8"/>
                <a:gd name="T3" fmla="*/ 0 h 6"/>
                <a:gd name="T4" fmla="*/ 8 w 8"/>
                <a:gd name="T5" fmla="*/ 6 h 6"/>
                <a:gd name="T6" fmla="*/ 0 w 8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0" y="0"/>
                  </a:lnTo>
                  <a:cubicBezTo>
                    <a:pt x="3" y="2"/>
                    <a:pt x="5" y="4"/>
                    <a:pt x="8" y="6"/>
                  </a:cubicBezTo>
                  <a:cubicBezTo>
                    <a:pt x="8" y="4"/>
                    <a:pt x="5" y="2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92">
              <a:extLst>
                <a:ext uri="{FF2B5EF4-FFF2-40B4-BE49-F238E27FC236}">
                  <a16:creationId xmlns:a16="http://schemas.microsoft.com/office/drawing/2014/main" id="{021932BF-4EBA-474A-BC4F-3305FF206639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6" y="972"/>
              <a:ext cx="3" cy="3"/>
            </a:xfrm>
            <a:custGeom>
              <a:avLst/>
              <a:gdLst>
                <a:gd name="T0" fmla="*/ 15 w 15"/>
                <a:gd name="T1" fmla="*/ 0 h 13"/>
                <a:gd name="T2" fmla="*/ 15 w 15"/>
                <a:gd name="T3" fmla="*/ 0 h 13"/>
                <a:gd name="T4" fmla="*/ 4 w 15"/>
                <a:gd name="T5" fmla="*/ 6 h 13"/>
                <a:gd name="T6" fmla="*/ 0 w 15"/>
                <a:gd name="T7" fmla="*/ 13 h 13"/>
                <a:gd name="T8" fmla="*/ 15 w 15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3">
                  <a:moveTo>
                    <a:pt x="15" y="0"/>
                  </a:moveTo>
                  <a:lnTo>
                    <a:pt x="15" y="0"/>
                  </a:lnTo>
                  <a:cubicBezTo>
                    <a:pt x="11" y="2"/>
                    <a:pt x="7" y="4"/>
                    <a:pt x="4" y="6"/>
                  </a:cubicBezTo>
                  <a:cubicBezTo>
                    <a:pt x="2" y="8"/>
                    <a:pt x="2" y="10"/>
                    <a:pt x="0" y="13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93">
              <a:extLst>
                <a:ext uri="{FF2B5EF4-FFF2-40B4-BE49-F238E27FC236}">
                  <a16:creationId xmlns:a16="http://schemas.microsoft.com/office/drawing/2014/main" id="{3019E491-E536-4B08-8A2F-6A373155F316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6" y="823"/>
              <a:ext cx="8" cy="8"/>
            </a:xfrm>
            <a:custGeom>
              <a:avLst/>
              <a:gdLst>
                <a:gd name="T0" fmla="*/ 6 w 43"/>
                <a:gd name="T1" fmla="*/ 32 h 41"/>
                <a:gd name="T2" fmla="*/ 6 w 43"/>
                <a:gd name="T3" fmla="*/ 32 h 41"/>
                <a:gd name="T4" fmla="*/ 25 w 43"/>
                <a:gd name="T5" fmla="*/ 14 h 41"/>
                <a:gd name="T6" fmla="*/ 6 w 43"/>
                <a:gd name="T7" fmla="*/ 0 h 41"/>
                <a:gd name="T8" fmla="*/ 6 w 43"/>
                <a:gd name="T9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1">
                  <a:moveTo>
                    <a:pt x="6" y="32"/>
                  </a:moveTo>
                  <a:lnTo>
                    <a:pt x="6" y="32"/>
                  </a:lnTo>
                  <a:cubicBezTo>
                    <a:pt x="43" y="41"/>
                    <a:pt x="3" y="26"/>
                    <a:pt x="25" y="14"/>
                  </a:cubicBezTo>
                  <a:lnTo>
                    <a:pt x="6" y="0"/>
                  </a:lnTo>
                  <a:cubicBezTo>
                    <a:pt x="0" y="11"/>
                    <a:pt x="5" y="22"/>
                    <a:pt x="6" y="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94">
              <a:extLst>
                <a:ext uri="{FF2B5EF4-FFF2-40B4-BE49-F238E27FC236}">
                  <a16:creationId xmlns:a16="http://schemas.microsoft.com/office/drawing/2014/main" id="{F31E7BF0-4DDB-49C3-A223-44419289E40B}"/>
                </a:ext>
              </a:extLst>
            </p:cNvPr>
            <p:cNvSpPr>
              <a:spLocks/>
            </p:cNvSpPr>
            <p:nvPr/>
          </p:nvSpPr>
          <p:spPr bwMode="gray">
            <a:xfrm>
              <a:off x="2094" y="589"/>
              <a:ext cx="1" cy="1"/>
            </a:xfrm>
            <a:custGeom>
              <a:avLst/>
              <a:gdLst>
                <a:gd name="T0" fmla="*/ 1 w 2"/>
                <a:gd name="T1" fmla="*/ 0 h 4"/>
                <a:gd name="T2" fmla="*/ 1 w 2"/>
                <a:gd name="T3" fmla="*/ 0 h 4"/>
                <a:gd name="T4" fmla="*/ 0 w 2"/>
                <a:gd name="T5" fmla="*/ 4 h 4"/>
                <a:gd name="T6" fmla="*/ 2 w 2"/>
                <a:gd name="T7" fmla="*/ 3 h 4"/>
                <a:gd name="T8" fmla="*/ 1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1" y="0"/>
                  </a:moveTo>
                  <a:lnTo>
                    <a:pt x="1" y="0"/>
                  </a:lnTo>
                  <a:cubicBezTo>
                    <a:pt x="1" y="1"/>
                    <a:pt x="1" y="2"/>
                    <a:pt x="0" y="4"/>
                  </a:cubicBezTo>
                  <a:cubicBezTo>
                    <a:pt x="1" y="3"/>
                    <a:pt x="1" y="3"/>
                    <a:pt x="2" y="3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95">
              <a:extLst>
                <a:ext uri="{FF2B5EF4-FFF2-40B4-BE49-F238E27FC236}">
                  <a16:creationId xmlns:a16="http://schemas.microsoft.com/office/drawing/2014/main" id="{0F52590D-81DD-47E8-B62A-762FE25AA66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1" y="754"/>
              <a:ext cx="1" cy="1"/>
            </a:xfrm>
            <a:custGeom>
              <a:avLst/>
              <a:gdLst>
                <a:gd name="T0" fmla="*/ 0 w 3"/>
                <a:gd name="T1" fmla="*/ 7 h 7"/>
                <a:gd name="T2" fmla="*/ 0 w 3"/>
                <a:gd name="T3" fmla="*/ 7 h 7"/>
                <a:gd name="T4" fmla="*/ 3 w 3"/>
                <a:gd name="T5" fmla="*/ 0 h 7"/>
                <a:gd name="T6" fmla="*/ 0 w 3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0" y="7"/>
                  </a:moveTo>
                  <a:lnTo>
                    <a:pt x="0" y="7"/>
                  </a:lnTo>
                  <a:cubicBezTo>
                    <a:pt x="1" y="5"/>
                    <a:pt x="2" y="3"/>
                    <a:pt x="3" y="0"/>
                  </a:cubicBezTo>
                  <a:cubicBezTo>
                    <a:pt x="2" y="2"/>
                    <a:pt x="0" y="4"/>
                    <a:pt x="0" y="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96">
              <a:extLst>
                <a:ext uri="{FF2B5EF4-FFF2-40B4-BE49-F238E27FC236}">
                  <a16:creationId xmlns:a16="http://schemas.microsoft.com/office/drawing/2014/main" id="{DE91EB6F-C2B6-477B-8DCC-2C5D7C4BD9DE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" y="944"/>
              <a:ext cx="10" cy="9"/>
            </a:xfrm>
            <a:custGeom>
              <a:avLst/>
              <a:gdLst>
                <a:gd name="T0" fmla="*/ 37 w 51"/>
                <a:gd name="T1" fmla="*/ 0 h 46"/>
                <a:gd name="T2" fmla="*/ 37 w 51"/>
                <a:gd name="T3" fmla="*/ 0 h 46"/>
                <a:gd name="T4" fmla="*/ 19 w 51"/>
                <a:gd name="T5" fmla="*/ 23 h 46"/>
                <a:gd name="T6" fmla="*/ 0 w 51"/>
                <a:gd name="T7" fmla="*/ 46 h 46"/>
                <a:gd name="T8" fmla="*/ 18 w 51"/>
                <a:gd name="T9" fmla="*/ 38 h 46"/>
                <a:gd name="T10" fmla="*/ 37 w 51"/>
                <a:gd name="T1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46">
                  <a:moveTo>
                    <a:pt x="37" y="0"/>
                  </a:moveTo>
                  <a:lnTo>
                    <a:pt x="37" y="0"/>
                  </a:lnTo>
                  <a:cubicBezTo>
                    <a:pt x="37" y="0"/>
                    <a:pt x="28" y="12"/>
                    <a:pt x="19" y="23"/>
                  </a:cubicBezTo>
                  <a:cubicBezTo>
                    <a:pt x="10" y="35"/>
                    <a:pt x="0" y="46"/>
                    <a:pt x="0" y="46"/>
                  </a:cubicBezTo>
                  <a:lnTo>
                    <a:pt x="18" y="38"/>
                  </a:lnTo>
                  <a:cubicBezTo>
                    <a:pt x="8" y="21"/>
                    <a:pt x="51" y="20"/>
                    <a:pt x="3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97">
              <a:extLst>
                <a:ext uri="{FF2B5EF4-FFF2-40B4-BE49-F238E27FC236}">
                  <a16:creationId xmlns:a16="http://schemas.microsoft.com/office/drawing/2014/main" id="{8C7DC288-1A93-4921-9417-BE74AB9E7F3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42" y="583"/>
              <a:ext cx="398" cy="683"/>
            </a:xfrm>
            <a:custGeom>
              <a:avLst/>
              <a:gdLst>
                <a:gd name="T0" fmla="*/ 1192 w 2096"/>
                <a:gd name="T1" fmla="*/ 2577 h 3600"/>
                <a:gd name="T2" fmla="*/ 925 w 2096"/>
                <a:gd name="T3" fmla="*/ 3248 h 3600"/>
                <a:gd name="T4" fmla="*/ 1409 w 2096"/>
                <a:gd name="T5" fmla="*/ 3251 h 3600"/>
                <a:gd name="T6" fmla="*/ 787 w 2096"/>
                <a:gd name="T7" fmla="*/ 3461 h 3600"/>
                <a:gd name="T8" fmla="*/ 1583 w 2096"/>
                <a:gd name="T9" fmla="*/ 1550 h 3600"/>
                <a:gd name="T10" fmla="*/ 833 w 2096"/>
                <a:gd name="T11" fmla="*/ 2439 h 3600"/>
                <a:gd name="T12" fmla="*/ 282 w 2096"/>
                <a:gd name="T13" fmla="*/ 2955 h 3600"/>
                <a:gd name="T14" fmla="*/ 91 w 2096"/>
                <a:gd name="T15" fmla="*/ 3141 h 3600"/>
                <a:gd name="T16" fmla="*/ 87 w 2096"/>
                <a:gd name="T17" fmla="*/ 3374 h 3600"/>
                <a:gd name="T18" fmla="*/ 93 w 2096"/>
                <a:gd name="T19" fmla="*/ 3463 h 3600"/>
                <a:gd name="T20" fmla="*/ 204 w 2096"/>
                <a:gd name="T21" fmla="*/ 3475 h 3600"/>
                <a:gd name="T22" fmla="*/ 39 w 2096"/>
                <a:gd name="T23" fmla="*/ 3547 h 3600"/>
                <a:gd name="T24" fmla="*/ 11 w 2096"/>
                <a:gd name="T25" fmla="*/ 3591 h 3600"/>
                <a:gd name="T26" fmla="*/ 218 w 2096"/>
                <a:gd name="T27" fmla="*/ 3516 h 3600"/>
                <a:gd name="T28" fmla="*/ 191 w 2096"/>
                <a:gd name="T29" fmla="*/ 3599 h 3600"/>
                <a:gd name="T30" fmla="*/ 537 w 2096"/>
                <a:gd name="T31" fmla="*/ 3532 h 3600"/>
                <a:gd name="T32" fmla="*/ 890 w 2096"/>
                <a:gd name="T33" fmla="*/ 3444 h 3600"/>
                <a:gd name="T34" fmla="*/ 1012 w 2096"/>
                <a:gd name="T35" fmla="*/ 3452 h 3600"/>
                <a:gd name="T36" fmla="*/ 1331 w 2096"/>
                <a:gd name="T37" fmla="*/ 3459 h 3600"/>
                <a:gd name="T38" fmla="*/ 1528 w 2096"/>
                <a:gd name="T39" fmla="*/ 3458 h 3600"/>
                <a:gd name="T40" fmla="*/ 1674 w 2096"/>
                <a:gd name="T41" fmla="*/ 3417 h 3600"/>
                <a:gd name="T42" fmla="*/ 1880 w 2096"/>
                <a:gd name="T43" fmla="*/ 3373 h 3600"/>
                <a:gd name="T44" fmla="*/ 1859 w 2096"/>
                <a:gd name="T45" fmla="*/ 3345 h 3600"/>
                <a:gd name="T46" fmla="*/ 1734 w 2096"/>
                <a:gd name="T47" fmla="*/ 3308 h 3600"/>
                <a:gd name="T48" fmla="*/ 1472 w 2096"/>
                <a:gd name="T49" fmla="*/ 3262 h 3600"/>
                <a:gd name="T50" fmla="*/ 1387 w 2096"/>
                <a:gd name="T51" fmla="*/ 3307 h 3600"/>
                <a:gd name="T52" fmla="*/ 1157 w 2096"/>
                <a:gd name="T53" fmla="*/ 3254 h 3600"/>
                <a:gd name="T54" fmla="*/ 878 w 2096"/>
                <a:gd name="T55" fmla="*/ 3256 h 3600"/>
                <a:gd name="T56" fmla="*/ 810 w 2096"/>
                <a:gd name="T57" fmla="*/ 3245 h 3600"/>
                <a:gd name="T58" fmla="*/ 703 w 2096"/>
                <a:gd name="T59" fmla="*/ 3270 h 3600"/>
                <a:gd name="T60" fmla="*/ 651 w 2096"/>
                <a:gd name="T61" fmla="*/ 3208 h 3600"/>
                <a:gd name="T62" fmla="*/ 766 w 2096"/>
                <a:gd name="T63" fmla="*/ 3097 h 3600"/>
                <a:gd name="T64" fmla="*/ 802 w 2096"/>
                <a:gd name="T65" fmla="*/ 3029 h 3600"/>
                <a:gd name="T66" fmla="*/ 1187 w 2096"/>
                <a:gd name="T67" fmla="*/ 2615 h 3600"/>
                <a:gd name="T68" fmla="*/ 1332 w 2096"/>
                <a:gd name="T69" fmla="*/ 2602 h 3600"/>
                <a:gd name="T70" fmla="*/ 1473 w 2096"/>
                <a:gd name="T71" fmla="*/ 2415 h 3600"/>
                <a:gd name="T72" fmla="*/ 1715 w 2096"/>
                <a:gd name="T73" fmla="*/ 2019 h 3600"/>
                <a:gd name="T74" fmla="*/ 1786 w 2096"/>
                <a:gd name="T75" fmla="*/ 2084 h 3600"/>
                <a:gd name="T76" fmla="*/ 1673 w 2096"/>
                <a:gd name="T77" fmla="*/ 1929 h 3600"/>
                <a:gd name="T78" fmla="*/ 1786 w 2096"/>
                <a:gd name="T79" fmla="*/ 1769 h 3600"/>
                <a:gd name="T80" fmla="*/ 1925 w 2096"/>
                <a:gd name="T81" fmla="*/ 1807 h 3600"/>
                <a:gd name="T82" fmla="*/ 2018 w 2096"/>
                <a:gd name="T83" fmla="*/ 1759 h 3600"/>
                <a:gd name="T84" fmla="*/ 2067 w 2096"/>
                <a:gd name="T85" fmla="*/ 1440 h 3600"/>
                <a:gd name="T86" fmla="*/ 2074 w 2096"/>
                <a:gd name="T87" fmla="*/ 1170 h 3600"/>
                <a:gd name="T88" fmla="*/ 1961 w 2096"/>
                <a:gd name="T89" fmla="*/ 769 h 3600"/>
                <a:gd name="T90" fmla="*/ 1825 w 2096"/>
                <a:gd name="T91" fmla="*/ 302 h 3600"/>
                <a:gd name="T92" fmla="*/ 1491 w 2096"/>
                <a:gd name="T93" fmla="*/ 66 h 3600"/>
                <a:gd name="T94" fmla="*/ 1243 w 2096"/>
                <a:gd name="T95" fmla="*/ 72 h 3600"/>
                <a:gd name="T96" fmla="*/ 858 w 2096"/>
                <a:gd name="T97" fmla="*/ 163 h 3600"/>
                <a:gd name="T98" fmla="*/ 572 w 2096"/>
                <a:gd name="T99" fmla="*/ 240 h 3600"/>
                <a:gd name="T100" fmla="*/ 373 w 2096"/>
                <a:gd name="T101" fmla="*/ 333 h 3600"/>
                <a:gd name="T102" fmla="*/ 950 w 2096"/>
                <a:gd name="T103" fmla="*/ 429 h 3600"/>
                <a:gd name="T104" fmla="*/ 1390 w 2096"/>
                <a:gd name="T105" fmla="*/ 419 h 3600"/>
                <a:gd name="T106" fmla="*/ 1598 w 2096"/>
                <a:gd name="T107" fmla="*/ 587 h 3600"/>
                <a:gd name="T108" fmla="*/ 1638 w 2096"/>
                <a:gd name="T109" fmla="*/ 616 h 3600"/>
                <a:gd name="T110" fmla="*/ 1620 w 2096"/>
                <a:gd name="T111" fmla="*/ 739 h 3600"/>
                <a:gd name="T112" fmla="*/ 1680 w 2096"/>
                <a:gd name="T113" fmla="*/ 927 h 3600"/>
                <a:gd name="T114" fmla="*/ 1732 w 2096"/>
                <a:gd name="T115" fmla="*/ 1179 h 3600"/>
                <a:gd name="T116" fmla="*/ 1670 w 2096"/>
                <a:gd name="T117" fmla="*/ 1342 h 3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96" h="3600">
                  <a:moveTo>
                    <a:pt x="1712" y="1784"/>
                  </a:moveTo>
                  <a:lnTo>
                    <a:pt x="1712" y="1784"/>
                  </a:lnTo>
                  <a:cubicBezTo>
                    <a:pt x="1725" y="1794"/>
                    <a:pt x="1736" y="1809"/>
                    <a:pt x="1748" y="1811"/>
                  </a:cubicBezTo>
                  <a:cubicBezTo>
                    <a:pt x="1748" y="1812"/>
                    <a:pt x="1747" y="1812"/>
                    <a:pt x="1746" y="1813"/>
                  </a:cubicBezTo>
                  <a:cubicBezTo>
                    <a:pt x="1752" y="1814"/>
                    <a:pt x="1757" y="1814"/>
                    <a:pt x="1759" y="1818"/>
                  </a:cubicBezTo>
                  <a:cubicBezTo>
                    <a:pt x="1765" y="1812"/>
                    <a:pt x="1773" y="1807"/>
                    <a:pt x="1772" y="1800"/>
                  </a:cubicBezTo>
                  <a:cubicBezTo>
                    <a:pt x="1729" y="1772"/>
                    <a:pt x="1730" y="1754"/>
                    <a:pt x="1712" y="1784"/>
                  </a:cubicBezTo>
                  <a:lnTo>
                    <a:pt x="1712" y="1784"/>
                  </a:lnTo>
                  <a:close/>
                  <a:moveTo>
                    <a:pt x="1192" y="2577"/>
                  </a:moveTo>
                  <a:lnTo>
                    <a:pt x="1192" y="2577"/>
                  </a:lnTo>
                  <a:cubicBezTo>
                    <a:pt x="1190" y="2588"/>
                    <a:pt x="1188" y="2613"/>
                    <a:pt x="1208" y="2609"/>
                  </a:cubicBezTo>
                  <a:cubicBezTo>
                    <a:pt x="1204" y="2594"/>
                    <a:pt x="1232" y="2599"/>
                    <a:pt x="1222" y="2580"/>
                  </a:cubicBezTo>
                  <a:cubicBezTo>
                    <a:pt x="1223" y="2580"/>
                    <a:pt x="1224" y="2580"/>
                    <a:pt x="1224" y="2580"/>
                  </a:cubicBezTo>
                  <a:cubicBezTo>
                    <a:pt x="1208" y="2578"/>
                    <a:pt x="1195" y="2575"/>
                    <a:pt x="1192" y="2577"/>
                  </a:cubicBezTo>
                  <a:lnTo>
                    <a:pt x="1192" y="2577"/>
                  </a:lnTo>
                  <a:close/>
                  <a:moveTo>
                    <a:pt x="925" y="3248"/>
                  </a:moveTo>
                  <a:lnTo>
                    <a:pt x="925" y="3248"/>
                  </a:lnTo>
                  <a:cubicBezTo>
                    <a:pt x="917" y="3232"/>
                    <a:pt x="900" y="3238"/>
                    <a:pt x="888" y="3243"/>
                  </a:cubicBezTo>
                  <a:cubicBezTo>
                    <a:pt x="894" y="3244"/>
                    <a:pt x="905" y="3248"/>
                    <a:pt x="925" y="3248"/>
                  </a:cubicBezTo>
                  <a:lnTo>
                    <a:pt x="925" y="3248"/>
                  </a:lnTo>
                  <a:close/>
                  <a:moveTo>
                    <a:pt x="1248" y="3285"/>
                  </a:moveTo>
                  <a:lnTo>
                    <a:pt x="1248" y="3285"/>
                  </a:lnTo>
                  <a:cubicBezTo>
                    <a:pt x="1245" y="3277"/>
                    <a:pt x="1241" y="3272"/>
                    <a:pt x="1236" y="3269"/>
                  </a:cubicBezTo>
                  <a:cubicBezTo>
                    <a:pt x="1239" y="3280"/>
                    <a:pt x="1242" y="3288"/>
                    <a:pt x="1248" y="3285"/>
                  </a:cubicBezTo>
                  <a:lnTo>
                    <a:pt x="1248" y="3285"/>
                  </a:lnTo>
                  <a:close/>
                  <a:moveTo>
                    <a:pt x="1409" y="3251"/>
                  </a:moveTo>
                  <a:lnTo>
                    <a:pt x="1409" y="3251"/>
                  </a:lnTo>
                  <a:cubicBezTo>
                    <a:pt x="1408" y="3254"/>
                    <a:pt x="1406" y="3257"/>
                    <a:pt x="1405" y="3260"/>
                  </a:cubicBezTo>
                  <a:cubicBezTo>
                    <a:pt x="1405" y="3260"/>
                    <a:pt x="1405" y="3260"/>
                    <a:pt x="1405" y="3260"/>
                  </a:cubicBezTo>
                  <a:lnTo>
                    <a:pt x="1409" y="3251"/>
                  </a:lnTo>
                  <a:lnTo>
                    <a:pt x="1409" y="3251"/>
                  </a:lnTo>
                  <a:close/>
                  <a:moveTo>
                    <a:pt x="787" y="3461"/>
                  </a:moveTo>
                  <a:lnTo>
                    <a:pt x="787" y="3461"/>
                  </a:lnTo>
                  <a:cubicBezTo>
                    <a:pt x="832" y="3442"/>
                    <a:pt x="815" y="3462"/>
                    <a:pt x="817" y="3472"/>
                  </a:cubicBezTo>
                  <a:cubicBezTo>
                    <a:pt x="796" y="3469"/>
                    <a:pt x="780" y="3471"/>
                    <a:pt x="763" y="3472"/>
                  </a:cubicBezTo>
                  <a:cubicBezTo>
                    <a:pt x="747" y="3474"/>
                    <a:pt x="732" y="3475"/>
                    <a:pt x="716" y="3470"/>
                  </a:cubicBezTo>
                  <a:cubicBezTo>
                    <a:pt x="718" y="3477"/>
                    <a:pt x="715" y="3488"/>
                    <a:pt x="715" y="3494"/>
                  </a:cubicBezTo>
                  <a:cubicBezTo>
                    <a:pt x="699" y="3494"/>
                    <a:pt x="688" y="3486"/>
                    <a:pt x="693" y="3466"/>
                  </a:cubicBezTo>
                  <a:cubicBezTo>
                    <a:pt x="712" y="3445"/>
                    <a:pt x="735" y="3450"/>
                    <a:pt x="755" y="3456"/>
                  </a:cubicBezTo>
                  <a:cubicBezTo>
                    <a:pt x="776" y="3463"/>
                    <a:pt x="793" y="3472"/>
                    <a:pt x="787" y="3461"/>
                  </a:cubicBezTo>
                  <a:lnTo>
                    <a:pt x="787" y="3461"/>
                  </a:lnTo>
                  <a:close/>
                  <a:moveTo>
                    <a:pt x="1077" y="3456"/>
                  </a:moveTo>
                  <a:lnTo>
                    <a:pt x="1077" y="3456"/>
                  </a:lnTo>
                  <a:lnTo>
                    <a:pt x="1072" y="3450"/>
                  </a:lnTo>
                  <a:cubicBezTo>
                    <a:pt x="1082" y="3443"/>
                    <a:pt x="1087" y="3437"/>
                    <a:pt x="1077" y="3456"/>
                  </a:cubicBezTo>
                  <a:lnTo>
                    <a:pt x="1077" y="3456"/>
                  </a:lnTo>
                  <a:close/>
                  <a:moveTo>
                    <a:pt x="1610" y="1487"/>
                  </a:moveTo>
                  <a:lnTo>
                    <a:pt x="1610" y="1487"/>
                  </a:lnTo>
                  <a:lnTo>
                    <a:pt x="1587" y="1484"/>
                  </a:lnTo>
                  <a:cubicBezTo>
                    <a:pt x="1605" y="1511"/>
                    <a:pt x="1593" y="1531"/>
                    <a:pt x="1583" y="1550"/>
                  </a:cubicBezTo>
                  <a:cubicBezTo>
                    <a:pt x="1578" y="1559"/>
                    <a:pt x="1573" y="1568"/>
                    <a:pt x="1573" y="1578"/>
                  </a:cubicBezTo>
                  <a:cubicBezTo>
                    <a:pt x="1573" y="1589"/>
                    <a:pt x="1576" y="1600"/>
                    <a:pt x="1588" y="1616"/>
                  </a:cubicBezTo>
                  <a:cubicBezTo>
                    <a:pt x="1540" y="1622"/>
                    <a:pt x="1553" y="1636"/>
                    <a:pt x="1565" y="1653"/>
                  </a:cubicBezTo>
                  <a:cubicBezTo>
                    <a:pt x="1577" y="1669"/>
                    <a:pt x="1590" y="1687"/>
                    <a:pt x="1546" y="1691"/>
                  </a:cubicBezTo>
                  <a:lnTo>
                    <a:pt x="1557" y="1695"/>
                  </a:lnTo>
                  <a:cubicBezTo>
                    <a:pt x="1506" y="1765"/>
                    <a:pt x="1435" y="1831"/>
                    <a:pt x="1364" y="1901"/>
                  </a:cubicBezTo>
                  <a:cubicBezTo>
                    <a:pt x="1328" y="1936"/>
                    <a:pt x="1292" y="1973"/>
                    <a:pt x="1259" y="2011"/>
                  </a:cubicBezTo>
                  <a:cubicBezTo>
                    <a:pt x="1226" y="2049"/>
                    <a:pt x="1196" y="2088"/>
                    <a:pt x="1170" y="2129"/>
                  </a:cubicBezTo>
                  <a:lnTo>
                    <a:pt x="1159" y="2118"/>
                  </a:lnTo>
                  <a:cubicBezTo>
                    <a:pt x="1044" y="2221"/>
                    <a:pt x="939" y="2330"/>
                    <a:pt x="833" y="2439"/>
                  </a:cubicBezTo>
                  <a:cubicBezTo>
                    <a:pt x="781" y="2493"/>
                    <a:pt x="728" y="2547"/>
                    <a:pt x="673" y="2599"/>
                  </a:cubicBezTo>
                  <a:cubicBezTo>
                    <a:pt x="646" y="2625"/>
                    <a:pt x="619" y="2651"/>
                    <a:pt x="590" y="2677"/>
                  </a:cubicBezTo>
                  <a:lnTo>
                    <a:pt x="548" y="2715"/>
                  </a:lnTo>
                  <a:cubicBezTo>
                    <a:pt x="525" y="2734"/>
                    <a:pt x="503" y="2754"/>
                    <a:pt x="480" y="2773"/>
                  </a:cubicBezTo>
                  <a:cubicBezTo>
                    <a:pt x="465" y="2797"/>
                    <a:pt x="472" y="2808"/>
                    <a:pt x="479" y="2818"/>
                  </a:cubicBezTo>
                  <a:cubicBezTo>
                    <a:pt x="487" y="2829"/>
                    <a:pt x="495" y="2839"/>
                    <a:pt x="487" y="2858"/>
                  </a:cubicBezTo>
                  <a:cubicBezTo>
                    <a:pt x="473" y="2869"/>
                    <a:pt x="444" y="2897"/>
                    <a:pt x="424" y="2888"/>
                  </a:cubicBezTo>
                  <a:cubicBezTo>
                    <a:pt x="442" y="2859"/>
                    <a:pt x="410" y="2864"/>
                    <a:pt x="413" y="2851"/>
                  </a:cubicBezTo>
                  <a:cubicBezTo>
                    <a:pt x="389" y="2873"/>
                    <a:pt x="355" y="2896"/>
                    <a:pt x="324" y="2920"/>
                  </a:cubicBezTo>
                  <a:cubicBezTo>
                    <a:pt x="308" y="2931"/>
                    <a:pt x="294" y="2943"/>
                    <a:pt x="282" y="2955"/>
                  </a:cubicBezTo>
                  <a:cubicBezTo>
                    <a:pt x="276" y="2961"/>
                    <a:pt x="271" y="2967"/>
                    <a:pt x="267" y="2973"/>
                  </a:cubicBezTo>
                  <a:cubicBezTo>
                    <a:pt x="263" y="2979"/>
                    <a:pt x="261" y="2985"/>
                    <a:pt x="259" y="2990"/>
                  </a:cubicBezTo>
                  <a:cubicBezTo>
                    <a:pt x="259" y="2990"/>
                    <a:pt x="275" y="2984"/>
                    <a:pt x="291" y="2978"/>
                  </a:cubicBezTo>
                  <a:cubicBezTo>
                    <a:pt x="308" y="2972"/>
                    <a:pt x="324" y="2966"/>
                    <a:pt x="324" y="2966"/>
                  </a:cubicBezTo>
                  <a:cubicBezTo>
                    <a:pt x="320" y="2983"/>
                    <a:pt x="290" y="3003"/>
                    <a:pt x="274" y="3016"/>
                  </a:cubicBezTo>
                  <a:cubicBezTo>
                    <a:pt x="264" y="3007"/>
                    <a:pt x="208" y="3022"/>
                    <a:pt x="212" y="3009"/>
                  </a:cubicBezTo>
                  <a:cubicBezTo>
                    <a:pt x="211" y="3033"/>
                    <a:pt x="205" y="3047"/>
                    <a:pt x="195" y="3058"/>
                  </a:cubicBezTo>
                  <a:cubicBezTo>
                    <a:pt x="185" y="3069"/>
                    <a:pt x="171" y="3076"/>
                    <a:pt x="156" y="3083"/>
                  </a:cubicBezTo>
                  <a:cubicBezTo>
                    <a:pt x="139" y="3090"/>
                    <a:pt x="126" y="3096"/>
                    <a:pt x="114" y="3105"/>
                  </a:cubicBezTo>
                  <a:cubicBezTo>
                    <a:pt x="102" y="3114"/>
                    <a:pt x="93" y="3125"/>
                    <a:pt x="91" y="3141"/>
                  </a:cubicBezTo>
                  <a:cubicBezTo>
                    <a:pt x="125" y="3146"/>
                    <a:pt x="144" y="3167"/>
                    <a:pt x="157" y="3188"/>
                  </a:cubicBezTo>
                  <a:cubicBezTo>
                    <a:pt x="174" y="3208"/>
                    <a:pt x="187" y="3227"/>
                    <a:pt x="201" y="3241"/>
                  </a:cubicBezTo>
                  <a:cubicBezTo>
                    <a:pt x="201" y="3241"/>
                    <a:pt x="193" y="3247"/>
                    <a:pt x="185" y="3253"/>
                  </a:cubicBezTo>
                  <a:cubicBezTo>
                    <a:pt x="177" y="3259"/>
                    <a:pt x="170" y="3265"/>
                    <a:pt x="170" y="3265"/>
                  </a:cubicBezTo>
                  <a:cubicBezTo>
                    <a:pt x="186" y="3238"/>
                    <a:pt x="117" y="3277"/>
                    <a:pt x="140" y="3241"/>
                  </a:cubicBezTo>
                  <a:cubicBezTo>
                    <a:pt x="121" y="3258"/>
                    <a:pt x="117" y="3272"/>
                    <a:pt x="114" y="3285"/>
                  </a:cubicBezTo>
                  <a:cubicBezTo>
                    <a:pt x="111" y="3298"/>
                    <a:pt x="110" y="3310"/>
                    <a:pt x="100" y="3326"/>
                  </a:cubicBezTo>
                  <a:cubicBezTo>
                    <a:pt x="118" y="3316"/>
                    <a:pt x="139" y="3311"/>
                    <a:pt x="142" y="3320"/>
                  </a:cubicBezTo>
                  <a:cubicBezTo>
                    <a:pt x="134" y="3330"/>
                    <a:pt x="122" y="3338"/>
                    <a:pt x="112" y="3346"/>
                  </a:cubicBezTo>
                  <a:cubicBezTo>
                    <a:pt x="101" y="3354"/>
                    <a:pt x="91" y="3362"/>
                    <a:pt x="87" y="3374"/>
                  </a:cubicBezTo>
                  <a:lnTo>
                    <a:pt x="73" y="3359"/>
                  </a:lnTo>
                  <a:cubicBezTo>
                    <a:pt x="59" y="3370"/>
                    <a:pt x="60" y="3376"/>
                    <a:pt x="64" y="3381"/>
                  </a:cubicBezTo>
                  <a:cubicBezTo>
                    <a:pt x="68" y="3386"/>
                    <a:pt x="75" y="3389"/>
                    <a:pt x="76" y="3395"/>
                  </a:cubicBezTo>
                  <a:cubicBezTo>
                    <a:pt x="51" y="3408"/>
                    <a:pt x="46" y="3445"/>
                    <a:pt x="21" y="3449"/>
                  </a:cubicBezTo>
                  <a:cubicBezTo>
                    <a:pt x="52" y="3470"/>
                    <a:pt x="34" y="3490"/>
                    <a:pt x="56" y="3522"/>
                  </a:cubicBezTo>
                  <a:cubicBezTo>
                    <a:pt x="76" y="3468"/>
                    <a:pt x="85" y="3518"/>
                    <a:pt x="103" y="3504"/>
                  </a:cubicBezTo>
                  <a:cubicBezTo>
                    <a:pt x="103" y="3504"/>
                    <a:pt x="102" y="3501"/>
                    <a:pt x="101" y="3497"/>
                  </a:cubicBezTo>
                  <a:cubicBezTo>
                    <a:pt x="100" y="3493"/>
                    <a:pt x="98" y="3488"/>
                    <a:pt x="97" y="3483"/>
                  </a:cubicBezTo>
                  <a:cubicBezTo>
                    <a:pt x="96" y="3478"/>
                    <a:pt x="95" y="3473"/>
                    <a:pt x="94" y="3469"/>
                  </a:cubicBezTo>
                  <a:cubicBezTo>
                    <a:pt x="93" y="3466"/>
                    <a:pt x="93" y="3463"/>
                    <a:pt x="93" y="3463"/>
                  </a:cubicBezTo>
                  <a:cubicBezTo>
                    <a:pt x="79" y="3532"/>
                    <a:pt x="89" y="3445"/>
                    <a:pt x="51" y="3467"/>
                  </a:cubicBezTo>
                  <a:cubicBezTo>
                    <a:pt x="60" y="3448"/>
                    <a:pt x="76" y="3451"/>
                    <a:pt x="88" y="3453"/>
                  </a:cubicBezTo>
                  <a:cubicBezTo>
                    <a:pt x="101" y="3455"/>
                    <a:pt x="110" y="3455"/>
                    <a:pt x="108" y="3433"/>
                  </a:cubicBezTo>
                  <a:cubicBezTo>
                    <a:pt x="117" y="3457"/>
                    <a:pt x="117" y="3474"/>
                    <a:pt x="120" y="3491"/>
                  </a:cubicBezTo>
                  <a:lnTo>
                    <a:pt x="122" y="3497"/>
                  </a:lnTo>
                  <a:cubicBezTo>
                    <a:pt x="122" y="3499"/>
                    <a:pt x="122" y="3502"/>
                    <a:pt x="124" y="3502"/>
                  </a:cubicBezTo>
                  <a:cubicBezTo>
                    <a:pt x="127" y="3502"/>
                    <a:pt x="131" y="3502"/>
                    <a:pt x="135" y="3502"/>
                  </a:cubicBezTo>
                  <a:cubicBezTo>
                    <a:pt x="143" y="3503"/>
                    <a:pt x="154" y="3502"/>
                    <a:pt x="170" y="3499"/>
                  </a:cubicBezTo>
                  <a:cubicBezTo>
                    <a:pt x="157" y="3498"/>
                    <a:pt x="165" y="3495"/>
                    <a:pt x="176" y="3490"/>
                  </a:cubicBezTo>
                  <a:cubicBezTo>
                    <a:pt x="188" y="3485"/>
                    <a:pt x="204" y="3479"/>
                    <a:pt x="204" y="3475"/>
                  </a:cubicBezTo>
                  <a:cubicBezTo>
                    <a:pt x="220" y="3475"/>
                    <a:pt x="217" y="3478"/>
                    <a:pt x="209" y="3482"/>
                  </a:cubicBezTo>
                  <a:cubicBezTo>
                    <a:pt x="200" y="3486"/>
                    <a:pt x="186" y="3492"/>
                    <a:pt x="176" y="3502"/>
                  </a:cubicBezTo>
                  <a:cubicBezTo>
                    <a:pt x="183" y="3503"/>
                    <a:pt x="181" y="3508"/>
                    <a:pt x="183" y="3511"/>
                  </a:cubicBezTo>
                  <a:cubicBezTo>
                    <a:pt x="185" y="3513"/>
                    <a:pt x="190" y="3514"/>
                    <a:pt x="215" y="3504"/>
                  </a:cubicBezTo>
                  <a:cubicBezTo>
                    <a:pt x="218" y="3511"/>
                    <a:pt x="207" y="3517"/>
                    <a:pt x="195" y="3523"/>
                  </a:cubicBezTo>
                  <a:cubicBezTo>
                    <a:pt x="182" y="3529"/>
                    <a:pt x="168" y="3534"/>
                    <a:pt x="161" y="3543"/>
                  </a:cubicBezTo>
                  <a:cubicBezTo>
                    <a:pt x="140" y="3553"/>
                    <a:pt x="141" y="3538"/>
                    <a:pt x="132" y="3532"/>
                  </a:cubicBezTo>
                  <a:cubicBezTo>
                    <a:pt x="128" y="3529"/>
                    <a:pt x="121" y="3527"/>
                    <a:pt x="111" y="3529"/>
                  </a:cubicBezTo>
                  <a:cubicBezTo>
                    <a:pt x="100" y="3531"/>
                    <a:pt x="86" y="3537"/>
                    <a:pt x="64" y="3551"/>
                  </a:cubicBezTo>
                  <a:cubicBezTo>
                    <a:pt x="61" y="3547"/>
                    <a:pt x="50" y="3548"/>
                    <a:pt x="39" y="3547"/>
                  </a:cubicBezTo>
                  <a:cubicBezTo>
                    <a:pt x="39" y="3546"/>
                    <a:pt x="38" y="3547"/>
                    <a:pt x="37" y="3546"/>
                  </a:cubicBezTo>
                  <a:lnTo>
                    <a:pt x="36" y="3544"/>
                  </a:lnTo>
                  <a:lnTo>
                    <a:pt x="33" y="3540"/>
                  </a:lnTo>
                  <a:cubicBezTo>
                    <a:pt x="31" y="3537"/>
                    <a:pt x="29" y="3534"/>
                    <a:pt x="27" y="3531"/>
                  </a:cubicBezTo>
                  <a:cubicBezTo>
                    <a:pt x="24" y="3524"/>
                    <a:pt x="22" y="3517"/>
                    <a:pt x="22" y="3509"/>
                  </a:cubicBezTo>
                  <a:cubicBezTo>
                    <a:pt x="19" y="3517"/>
                    <a:pt x="16" y="3527"/>
                    <a:pt x="13" y="3538"/>
                  </a:cubicBezTo>
                  <a:cubicBezTo>
                    <a:pt x="12" y="3543"/>
                    <a:pt x="10" y="3549"/>
                    <a:pt x="9" y="3554"/>
                  </a:cubicBezTo>
                  <a:cubicBezTo>
                    <a:pt x="8" y="3557"/>
                    <a:pt x="7" y="3560"/>
                    <a:pt x="6" y="3563"/>
                  </a:cubicBezTo>
                  <a:lnTo>
                    <a:pt x="5" y="3567"/>
                  </a:lnTo>
                  <a:cubicBezTo>
                    <a:pt x="1" y="3578"/>
                    <a:pt x="0" y="3589"/>
                    <a:pt x="11" y="3591"/>
                  </a:cubicBezTo>
                  <a:lnTo>
                    <a:pt x="66" y="3561"/>
                  </a:lnTo>
                  <a:cubicBezTo>
                    <a:pt x="72" y="3570"/>
                    <a:pt x="114" y="3548"/>
                    <a:pt x="115" y="3556"/>
                  </a:cubicBezTo>
                  <a:cubicBezTo>
                    <a:pt x="105" y="3560"/>
                    <a:pt x="95" y="3567"/>
                    <a:pt x="88" y="3574"/>
                  </a:cubicBezTo>
                  <a:cubicBezTo>
                    <a:pt x="81" y="3581"/>
                    <a:pt x="78" y="3587"/>
                    <a:pt x="83" y="3590"/>
                  </a:cubicBezTo>
                  <a:cubicBezTo>
                    <a:pt x="91" y="3582"/>
                    <a:pt x="87" y="3580"/>
                    <a:pt x="98" y="3574"/>
                  </a:cubicBezTo>
                  <a:cubicBezTo>
                    <a:pt x="102" y="3577"/>
                    <a:pt x="108" y="3576"/>
                    <a:pt x="115" y="3576"/>
                  </a:cubicBezTo>
                  <a:cubicBezTo>
                    <a:pt x="122" y="3576"/>
                    <a:pt x="131" y="3575"/>
                    <a:pt x="140" y="3573"/>
                  </a:cubicBezTo>
                  <a:cubicBezTo>
                    <a:pt x="158" y="3569"/>
                    <a:pt x="178" y="3564"/>
                    <a:pt x="195" y="3568"/>
                  </a:cubicBezTo>
                  <a:cubicBezTo>
                    <a:pt x="197" y="3554"/>
                    <a:pt x="202" y="3543"/>
                    <a:pt x="208" y="3533"/>
                  </a:cubicBezTo>
                  <a:cubicBezTo>
                    <a:pt x="211" y="3527"/>
                    <a:pt x="215" y="3522"/>
                    <a:pt x="218" y="3516"/>
                  </a:cubicBezTo>
                  <a:cubicBezTo>
                    <a:pt x="219" y="3514"/>
                    <a:pt x="221" y="3511"/>
                    <a:pt x="223" y="3508"/>
                  </a:cubicBezTo>
                  <a:cubicBezTo>
                    <a:pt x="224" y="3505"/>
                    <a:pt x="225" y="3503"/>
                    <a:pt x="227" y="3500"/>
                  </a:cubicBezTo>
                  <a:cubicBezTo>
                    <a:pt x="252" y="3487"/>
                    <a:pt x="258" y="3485"/>
                    <a:pt x="259" y="3489"/>
                  </a:cubicBezTo>
                  <a:cubicBezTo>
                    <a:pt x="260" y="3492"/>
                    <a:pt x="256" y="3500"/>
                    <a:pt x="265" y="3500"/>
                  </a:cubicBezTo>
                  <a:cubicBezTo>
                    <a:pt x="256" y="3504"/>
                    <a:pt x="252" y="3503"/>
                    <a:pt x="246" y="3511"/>
                  </a:cubicBezTo>
                  <a:cubicBezTo>
                    <a:pt x="246" y="3511"/>
                    <a:pt x="255" y="3508"/>
                    <a:pt x="264" y="3506"/>
                  </a:cubicBezTo>
                  <a:cubicBezTo>
                    <a:pt x="273" y="3502"/>
                    <a:pt x="283" y="3499"/>
                    <a:pt x="283" y="3499"/>
                  </a:cubicBezTo>
                  <a:cubicBezTo>
                    <a:pt x="285" y="3511"/>
                    <a:pt x="264" y="3525"/>
                    <a:pt x="243" y="3538"/>
                  </a:cubicBezTo>
                  <a:cubicBezTo>
                    <a:pt x="222" y="3551"/>
                    <a:pt x="201" y="3563"/>
                    <a:pt x="196" y="3580"/>
                  </a:cubicBezTo>
                  <a:cubicBezTo>
                    <a:pt x="182" y="3596"/>
                    <a:pt x="184" y="3600"/>
                    <a:pt x="191" y="3599"/>
                  </a:cubicBezTo>
                  <a:cubicBezTo>
                    <a:pt x="214" y="3592"/>
                    <a:pt x="248" y="3574"/>
                    <a:pt x="248" y="3583"/>
                  </a:cubicBezTo>
                  <a:cubicBezTo>
                    <a:pt x="251" y="3580"/>
                    <a:pt x="255" y="3576"/>
                    <a:pt x="257" y="3574"/>
                  </a:cubicBezTo>
                  <a:cubicBezTo>
                    <a:pt x="262" y="3574"/>
                    <a:pt x="265" y="3574"/>
                    <a:pt x="266" y="3575"/>
                  </a:cubicBezTo>
                  <a:cubicBezTo>
                    <a:pt x="267" y="3574"/>
                    <a:pt x="268" y="3573"/>
                    <a:pt x="269" y="3572"/>
                  </a:cubicBezTo>
                  <a:cubicBezTo>
                    <a:pt x="309" y="3562"/>
                    <a:pt x="340" y="3561"/>
                    <a:pt x="383" y="3530"/>
                  </a:cubicBezTo>
                  <a:cubicBezTo>
                    <a:pt x="370" y="3543"/>
                    <a:pt x="414" y="3523"/>
                    <a:pt x="432" y="3512"/>
                  </a:cubicBezTo>
                  <a:cubicBezTo>
                    <a:pt x="447" y="3506"/>
                    <a:pt x="472" y="3492"/>
                    <a:pt x="490" y="3487"/>
                  </a:cubicBezTo>
                  <a:cubicBezTo>
                    <a:pt x="508" y="3481"/>
                    <a:pt x="519" y="3482"/>
                    <a:pt x="510" y="3503"/>
                  </a:cubicBezTo>
                  <a:cubicBezTo>
                    <a:pt x="509" y="3504"/>
                    <a:pt x="509" y="3504"/>
                    <a:pt x="508" y="3504"/>
                  </a:cubicBezTo>
                  <a:cubicBezTo>
                    <a:pt x="538" y="3506"/>
                    <a:pt x="557" y="3516"/>
                    <a:pt x="537" y="3532"/>
                  </a:cubicBezTo>
                  <a:lnTo>
                    <a:pt x="592" y="3536"/>
                  </a:lnTo>
                  <a:lnTo>
                    <a:pt x="562" y="3571"/>
                  </a:lnTo>
                  <a:cubicBezTo>
                    <a:pt x="597" y="3563"/>
                    <a:pt x="615" y="3554"/>
                    <a:pt x="632" y="3542"/>
                  </a:cubicBezTo>
                  <a:cubicBezTo>
                    <a:pt x="649" y="3530"/>
                    <a:pt x="665" y="3516"/>
                    <a:pt x="691" y="3497"/>
                  </a:cubicBezTo>
                  <a:cubicBezTo>
                    <a:pt x="706" y="3505"/>
                    <a:pt x="733" y="3504"/>
                    <a:pt x="758" y="3499"/>
                  </a:cubicBezTo>
                  <a:cubicBezTo>
                    <a:pt x="784" y="3493"/>
                    <a:pt x="809" y="3485"/>
                    <a:pt x="822" y="3477"/>
                  </a:cubicBezTo>
                  <a:cubicBezTo>
                    <a:pt x="826" y="3478"/>
                    <a:pt x="832" y="3478"/>
                    <a:pt x="842" y="3476"/>
                  </a:cubicBezTo>
                  <a:lnTo>
                    <a:pt x="823" y="3464"/>
                  </a:lnTo>
                  <a:cubicBezTo>
                    <a:pt x="862" y="3463"/>
                    <a:pt x="857" y="3446"/>
                    <a:pt x="882" y="3444"/>
                  </a:cubicBezTo>
                  <a:cubicBezTo>
                    <a:pt x="877" y="3442"/>
                    <a:pt x="876" y="3440"/>
                    <a:pt x="890" y="3444"/>
                  </a:cubicBezTo>
                  <a:cubicBezTo>
                    <a:pt x="893" y="3445"/>
                    <a:pt x="897" y="3445"/>
                    <a:pt x="901" y="3446"/>
                  </a:cubicBezTo>
                  <a:cubicBezTo>
                    <a:pt x="900" y="3449"/>
                    <a:pt x="896" y="3449"/>
                    <a:pt x="892" y="3448"/>
                  </a:cubicBezTo>
                  <a:lnTo>
                    <a:pt x="896" y="3458"/>
                  </a:lnTo>
                  <a:cubicBezTo>
                    <a:pt x="921" y="3491"/>
                    <a:pt x="930" y="3437"/>
                    <a:pt x="955" y="3447"/>
                  </a:cubicBezTo>
                  <a:cubicBezTo>
                    <a:pt x="953" y="3449"/>
                    <a:pt x="949" y="3451"/>
                    <a:pt x="947" y="3451"/>
                  </a:cubicBezTo>
                  <a:cubicBezTo>
                    <a:pt x="961" y="3459"/>
                    <a:pt x="983" y="3504"/>
                    <a:pt x="987" y="3476"/>
                  </a:cubicBezTo>
                  <a:cubicBezTo>
                    <a:pt x="990" y="3479"/>
                    <a:pt x="995" y="3473"/>
                    <a:pt x="999" y="3466"/>
                  </a:cubicBezTo>
                  <a:lnTo>
                    <a:pt x="1010" y="3471"/>
                  </a:lnTo>
                  <a:cubicBezTo>
                    <a:pt x="1006" y="3469"/>
                    <a:pt x="1002" y="3468"/>
                    <a:pt x="1000" y="3466"/>
                  </a:cubicBezTo>
                  <a:cubicBezTo>
                    <a:pt x="1005" y="3456"/>
                    <a:pt x="1011" y="3445"/>
                    <a:pt x="1012" y="3452"/>
                  </a:cubicBezTo>
                  <a:lnTo>
                    <a:pt x="1048" y="3456"/>
                  </a:lnTo>
                  <a:cubicBezTo>
                    <a:pt x="1054" y="3460"/>
                    <a:pt x="1063" y="3456"/>
                    <a:pt x="1071" y="3451"/>
                  </a:cubicBezTo>
                  <a:lnTo>
                    <a:pt x="1077" y="3464"/>
                  </a:lnTo>
                  <a:cubicBezTo>
                    <a:pt x="1090" y="3462"/>
                    <a:pt x="1090" y="3470"/>
                    <a:pt x="1089" y="3474"/>
                  </a:cubicBezTo>
                  <a:cubicBezTo>
                    <a:pt x="1134" y="3519"/>
                    <a:pt x="1157" y="3448"/>
                    <a:pt x="1206" y="3487"/>
                  </a:cubicBezTo>
                  <a:cubicBezTo>
                    <a:pt x="1215" y="3465"/>
                    <a:pt x="1195" y="3455"/>
                    <a:pt x="1193" y="3443"/>
                  </a:cubicBezTo>
                  <a:cubicBezTo>
                    <a:pt x="1200" y="3425"/>
                    <a:pt x="1228" y="3410"/>
                    <a:pt x="1241" y="3397"/>
                  </a:cubicBezTo>
                  <a:cubicBezTo>
                    <a:pt x="1263" y="3428"/>
                    <a:pt x="1329" y="3455"/>
                    <a:pt x="1319" y="3500"/>
                  </a:cubicBezTo>
                  <a:cubicBezTo>
                    <a:pt x="1358" y="3503"/>
                    <a:pt x="1306" y="3472"/>
                    <a:pt x="1326" y="3457"/>
                  </a:cubicBezTo>
                  <a:lnTo>
                    <a:pt x="1331" y="3459"/>
                  </a:lnTo>
                  <a:cubicBezTo>
                    <a:pt x="1317" y="3453"/>
                    <a:pt x="1306" y="3438"/>
                    <a:pt x="1299" y="3421"/>
                  </a:cubicBezTo>
                  <a:cubicBezTo>
                    <a:pt x="1295" y="3397"/>
                    <a:pt x="1331" y="3390"/>
                    <a:pt x="1342" y="3397"/>
                  </a:cubicBezTo>
                  <a:lnTo>
                    <a:pt x="1334" y="3431"/>
                  </a:lnTo>
                  <a:cubicBezTo>
                    <a:pt x="1371" y="3419"/>
                    <a:pt x="1363" y="3368"/>
                    <a:pt x="1387" y="3334"/>
                  </a:cubicBezTo>
                  <a:cubicBezTo>
                    <a:pt x="1416" y="3347"/>
                    <a:pt x="1399" y="3378"/>
                    <a:pt x="1405" y="3409"/>
                  </a:cubicBezTo>
                  <a:lnTo>
                    <a:pt x="1436" y="3401"/>
                  </a:lnTo>
                  <a:lnTo>
                    <a:pt x="1435" y="3427"/>
                  </a:lnTo>
                  <a:cubicBezTo>
                    <a:pt x="1455" y="3420"/>
                    <a:pt x="1461" y="3396"/>
                    <a:pt x="1488" y="3407"/>
                  </a:cubicBezTo>
                  <a:cubicBezTo>
                    <a:pt x="1468" y="3431"/>
                    <a:pt x="1529" y="3432"/>
                    <a:pt x="1501" y="3464"/>
                  </a:cubicBezTo>
                  <a:cubicBezTo>
                    <a:pt x="1516" y="3473"/>
                    <a:pt x="1521" y="3423"/>
                    <a:pt x="1528" y="3458"/>
                  </a:cubicBezTo>
                  <a:cubicBezTo>
                    <a:pt x="1540" y="3431"/>
                    <a:pt x="1515" y="3444"/>
                    <a:pt x="1507" y="3435"/>
                  </a:cubicBezTo>
                  <a:cubicBezTo>
                    <a:pt x="1502" y="3395"/>
                    <a:pt x="1542" y="3417"/>
                    <a:pt x="1561" y="3407"/>
                  </a:cubicBezTo>
                  <a:cubicBezTo>
                    <a:pt x="1561" y="3428"/>
                    <a:pt x="1547" y="3431"/>
                    <a:pt x="1569" y="3445"/>
                  </a:cubicBezTo>
                  <a:cubicBezTo>
                    <a:pt x="1574" y="3430"/>
                    <a:pt x="1588" y="3418"/>
                    <a:pt x="1600" y="3438"/>
                  </a:cubicBezTo>
                  <a:cubicBezTo>
                    <a:pt x="1601" y="3412"/>
                    <a:pt x="1624" y="3434"/>
                    <a:pt x="1637" y="3436"/>
                  </a:cubicBezTo>
                  <a:cubicBezTo>
                    <a:pt x="1623" y="3430"/>
                    <a:pt x="1604" y="3410"/>
                    <a:pt x="1614" y="3388"/>
                  </a:cubicBezTo>
                  <a:cubicBezTo>
                    <a:pt x="1625" y="3379"/>
                    <a:pt x="1634" y="3374"/>
                    <a:pt x="1659" y="3378"/>
                  </a:cubicBezTo>
                  <a:lnTo>
                    <a:pt x="1643" y="3366"/>
                  </a:lnTo>
                  <a:cubicBezTo>
                    <a:pt x="1666" y="3329"/>
                    <a:pt x="1677" y="3394"/>
                    <a:pt x="1707" y="3384"/>
                  </a:cubicBezTo>
                  <a:cubicBezTo>
                    <a:pt x="1694" y="3398"/>
                    <a:pt x="1686" y="3398"/>
                    <a:pt x="1674" y="3417"/>
                  </a:cubicBezTo>
                  <a:cubicBezTo>
                    <a:pt x="1689" y="3405"/>
                    <a:pt x="1716" y="3388"/>
                    <a:pt x="1738" y="3377"/>
                  </a:cubicBezTo>
                  <a:lnTo>
                    <a:pt x="1761" y="3416"/>
                  </a:lnTo>
                  <a:cubicBezTo>
                    <a:pt x="1765" y="3398"/>
                    <a:pt x="1788" y="3419"/>
                    <a:pt x="1790" y="3394"/>
                  </a:cubicBezTo>
                  <a:cubicBezTo>
                    <a:pt x="1820" y="3413"/>
                    <a:pt x="1763" y="3423"/>
                    <a:pt x="1759" y="3442"/>
                  </a:cubicBezTo>
                  <a:cubicBezTo>
                    <a:pt x="1796" y="3461"/>
                    <a:pt x="1793" y="3401"/>
                    <a:pt x="1827" y="3443"/>
                  </a:cubicBezTo>
                  <a:lnTo>
                    <a:pt x="1813" y="3466"/>
                  </a:lnTo>
                  <a:cubicBezTo>
                    <a:pt x="1825" y="3468"/>
                    <a:pt x="1851" y="3456"/>
                    <a:pt x="1851" y="3469"/>
                  </a:cubicBezTo>
                  <a:cubicBezTo>
                    <a:pt x="1852" y="3460"/>
                    <a:pt x="1846" y="3463"/>
                    <a:pt x="1838" y="3462"/>
                  </a:cubicBezTo>
                  <a:cubicBezTo>
                    <a:pt x="1849" y="3411"/>
                    <a:pt x="1897" y="3431"/>
                    <a:pt x="1897" y="3377"/>
                  </a:cubicBezTo>
                  <a:lnTo>
                    <a:pt x="1880" y="3373"/>
                  </a:lnTo>
                  <a:cubicBezTo>
                    <a:pt x="1907" y="3364"/>
                    <a:pt x="1929" y="3330"/>
                    <a:pt x="1947" y="3350"/>
                  </a:cubicBezTo>
                  <a:cubicBezTo>
                    <a:pt x="1961" y="3368"/>
                    <a:pt x="1933" y="3385"/>
                    <a:pt x="1923" y="3398"/>
                  </a:cubicBezTo>
                  <a:cubicBezTo>
                    <a:pt x="1947" y="3403"/>
                    <a:pt x="1948" y="3341"/>
                    <a:pt x="1977" y="3349"/>
                  </a:cubicBezTo>
                  <a:cubicBezTo>
                    <a:pt x="1962" y="3339"/>
                    <a:pt x="1967" y="3321"/>
                    <a:pt x="1978" y="3308"/>
                  </a:cubicBezTo>
                  <a:cubicBezTo>
                    <a:pt x="1961" y="3303"/>
                    <a:pt x="1926" y="3290"/>
                    <a:pt x="1930" y="3313"/>
                  </a:cubicBezTo>
                  <a:lnTo>
                    <a:pt x="1936" y="3318"/>
                  </a:lnTo>
                  <a:cubicBezTo>
                    <a:pt x="1933" y="3332"/>
                    <a:pt x="1923" y="3336"/>
                    <a:pt x="1918" y="3343"/>
                  </a:cubicBezTo>
                  <a:cubicBezTo>
                    <a:pt x="1895" y="3341"/>
                    <a:pt x="1909" y="3318"/>
                    <a:pt x="1905" y="3307"/>
                  </a:cubicBezTo>
                  <a:cubicBezTo>
                    <a:pt x="1867" y="3296"/>
                    <a:pt x="1898" y="3360"/>
                    <a:pt x="1863" y="3356"/>
                  </a:cubicBezTo>
                  <a:lnTo>
                    <a:pt x="1859" y="3345"/>
                  </a:lnTo>
                  <a:cubicBezTo>
                    <a:pt x="1841" y="3357"/>
                    <a:pt x="1814" y="3357"/>
                    <a:pt x="1807" y="3390"/>
                  </a:cubicBezTo>
                  <a:cubicBezTo>
                    <a:pt x="1794" y="3354"/>
                    <a:pt x="1766" y="3401"/>
                    <a:pt x="1751" y="3379"/>
                  </a:cubicBezTo>
                  <a:cubicBezTo>
                    <a:pt x="1752" y="3304"/>
                    <a:pt x="1811" y="3388"/>
                    <a:pt x="1833" y="3348"/>
                  </a:cubicBezTo>
                  <a:cubicBezTo>
                    <a:pt x="1816" y="3332"/>
                    <a:pt x="1847" y="3313"/>
                    <a:pt x="1856" y="3297"/>
                  </a:cubicBezTo>
                  <a:cubicBezTo>
                    <a:pt x="1856" y="3297"/>
                    <a:pt x="1840" y="3304"/>
                    <a:pt x="1825" y="3311"/>
                  </a:cubicBezTo>
                  <a:cubicBezTo>
                    <a:pt x="1810" y="3318"/>
                    <a:pt x="1794" y="3325"/>
                    <a:pt x="1794" y="3325"/>
                  </a:cubicBezTo>
                  <a:cubicBezTo>
                    <a:pt x="1790" y="3315"/>
                    <a:pt x="1775" y="3276"/>
                    <a:pt x="1763" y="3303"/>
                  </a:cubicBezTo>
                  <a:lnTo>
                    <a:pt x="1767" y="3305"/>
                  </a:lnTo>
                  <a:cubicBezTo>
                    <a:pt x="1743" y="3312"/>
                    <a:pt x="1748" y="3343"/>
                    <a:pt x="1728" y="3332"/>
                  </a:cubicBezTo>
                  <a:cubicBezTo>
                    <a:pt x="1726" y="3325"/>
                    <a:pt x="1732" y="3313"/>
                    <a:pt x="1734" y="3308"/>
                  </a:cubicBezTo>
                  <a:cubicBezTo>
                    <a:pt x="1716" y="3300"/>
                    <a:pt x="1718" y="3324"/>
                    <a:pt x="1705" y="3330"/>
                  </a:cubicBezTo>
                  <a:cubicBezTo>
                    <a:pt x="1687" y="3323"/>
                    <a:pt x="1716" y="3300"/>
                    <a:pt x="1701" y="3291"/>
                  </a:cubicBezTo>
                  <a:cubicBezTo>
                    <a:pt x="1677" y="3319"/>
                    <a:pt x="1667" y="3282"/>
                    <a:pt x="1648" y="3283"/>
                  </a:cubicBezTo>
                  <a:cubicBezTo>
                    <a:pt x="1653" y="3326"/>
                    <a:pt x="1570" y="3339"/>
                    <a:pt x="1609" y="3378"/>
                  </a:cubicBezTo>
                  <a:lnTo>
                    <a:pt x="1564" y="3405"/>
                  </a:lnTo>
                  <a:cubicBezTo>
                    <a:pt x="1550" y="3383"/>
                    <a:pt x="1597" y="3346"/>
                    <a:pt x="1585" y="3310"/>
                  </a:cubicBezTo>
                  <a:lnTo>
                    <a:pt x="1621" y="3313"/>
                  </a:lnTo>
                  <a:cubicBezTo>
                    <a:pt x="1619" y="3286"/>
                    <a:pt x="1600" y="3294"/>
                    <a:pt x="1579" y="3301"/>
                  </a:cubicBezTo>
                  <a:cubicBezTo>
                    <a:pt x="1557" y="3309"/>
                    <a:pt x="1534" y="3315"/>
                    <a:pt x="1523" y="3285"/>
                  </a:cubicBezTo>
                  <a:cubicBezTo>
                    <a:pt x="1504" y="3282"/>
                    <a:pt x="1508" y="3290"/>
                    <a:pt x="1472" y="3262"/>
                  </a:cubicBezTo>
                  <a:lnTo>
                    <a:pt x="1478" y="3310"/>
                  </a:lnTo>
                  <a:cubicBezTo>
                    <a:pt x="1459" y="3299"/>
                    <a:pt x="1453" y="3273"/>
                    <a:pt x="1452" y="3264"/>
                  </a:cubicBezTo>
                  <a:cubicBezTo>
                    <a:pt x="1441" y="3267"/>
                    <a:pt x="1431" y="3266"/>
                    <a:pt x="1421" y="3263"/>
                  </a:cubicBezTo>
                  <a:cubicBezTo>
                    <a:pt x="1424" y="3256"/>
                    <a:pt x="1428" y="3250"/>
                    <a:pt x="1435" y="3248"/>
                  </a:cubicBezTo>
                  <a:cubicBezTo>
                    <a:pt x="1421" y="3221"/>
                    <a:pt x="1416" y="3231"/>
                    <a:pt x="1411" y="3245"/>
                  </a:cubicBezTo>
                  <a:cubicBezTo>
                    <a:pt x="1403" y="3257"/>
                    <a:pt x="1392" y="3255"/>
                    <a:pt x="1380" y="3255"/>
                  </a:cubicBezTo>
                  <a:lnTo>
                    <a:pt x="1390" y="3237"/>
                  </a:lnTo>
                  <a:cubicBezTo>
                    <a:pt x="1383" y="3241"/>
                    <a:pt x="1374" y="3246"/>
                    <a:pt x="1373" y="3254"/>
                  </a:cubicBezTo>
                  <a:cubicBezTo>
                    <a:pt x="1368" y="3255"/>
                    <a:pt x="1364" y="3256"/>
                    <a:pt x="1359" y="3259"/>
                  </a:cubicBezTo>
                  <a:cubicBezTo>
                    <a:pt x="1362" y="3267"/>
                    <a:pt x="1370" y="3295"/>
                    <a:pt x="1387" y="3307"/>
                  </a:cubicBezTo>
                  <a:cubicBezTo>
                    <a:pt x="1343" y="3288"/>
                    <a:pt x="1309" y="3298"/>
                    <a:pt x="1271" y="3259"/>
                  </a:cubicBezTo>
                  <a:cubicBezTo>
                    <a:pt x="1272" y="3246"/>
                    <a:pt x="1288" y="3228"/>
                    <a:pt x="1283" y="3227"/>
                  </a:cubicBezTo>
                  <a:cubicBezTo>
                    <a:pt x="1264" y="3220"/>
                    <a:pt x="1244" y="3244"/>
                    <a:pt x="1246" y="3265"/>
                  </a:cubicBezTo>
                  <a:cubicBezTo>
                    <a:pt x="1242" y="3266"/>
                    <a:pt x="1238" y="3267"/>
                    <a:pt x="1235" y="3267"/>
                  </a:cubicBezTo>
                  <a:cubicBezTo>
                    <a:pt x="1232" y="3255"/>
                    <a:pt x="1227" y="3242"/>
                    <a:pt x="1218" y="3240"/>
                  </a:cubicBezTo>
                  <a:cubicBezTo>
                    <a:pt x="1216" y="3236"/>
                    <a:pt x="1213" y="3232"/>
                    <a:pt x="1206" y="3231"/>
                  </a:cubicBezTo>
                  <a:cubicBezTo>
                    <a:pt x="1200" y="3269"/>
                    <a:pt x="1164" y="3251"/>
                    <a:pt x="1156" y="3268"/>
                  </a:cubicBezTo>
                  <a:cubicBezTo>
                    <a:pt x="1165" y="3272"/>
                    <a:pt x="1175" y="3271"/>
                    <a:pt x="1186" y="3270"/>
                  </a:cubicBezTo>
                  <a:cubicBezTo>
                    <a:pt x="1171" y="3295"/>
                    <a:pt x="1158" y="3324"/>
                    <a:pt x="1146" y="3304"/>
                  </a:cubicBezTo>
                  <a:cubicBezTo>
                    <a:pt x="1174" y="3280"/>
                    <a:pt x="1115" y="3266"/>
                    <a:pt x="1157" y="3254"/>
                  </a:cubicBezTo>
                  <a:cubicBezTo>
                    <a:pt x="1126" y="3207"/>
                    <a:pt x="1143" y="3289"/>
                    <a:pt x="1111" y="3273"/>
                  </a:cubicBezTo>
                  <a:lnTo>
                    <a:pt x="1090" y="3254"/>
                  </a:lnTo>
                  <a:cubicBezTo>
                    <a:pt x="1092" y="3227"/>
                    <a:pt x="1123" y="3240"/>
                    <a:pt x="1117" y="3230"/>
                  </a:cubicBezTo>
                  <a:lnTo>
                    <a:pt x="1103" y="3233"/>
                  </a:lnTo>
                  <a:cubicBezTo>
                    <a:pt x="1117" y="3212"/>
                    <a:pt x="1171" y="3225"/>
                    <a:pt x="1204" y="3193"/>
                  </a:cubicBezTo>
                  <a:lnTo>
                    <a:pt x="1137" y="3179"/>
                  </a:lnTo>
                  <a:cubicBezTo>
                    <a:pt x="1054" y="3214"/>
                    <a:pt x="947" y="3181"/>
                    <a:pt x="879" y="3246"/>
                  </a:cubicBezTo>
                  <a:cubicBezTo>
                    <a:pt x="880" y="3245"/>
                    <a:pt x="881" y="3245"/>
                    <a:pt x="882" y="3245"/>
                  </a:cubicBezTo>
                  <a:cubicBezTo>
                    <a:pt x="881" y="3247"/>
                    <a:pt x="881" y="3253"/>
                    <a:pt x="881" y="3263"/>
                  </a:cubicBezTo>
                  <a:cubicBezTo>
                    <a:pt x="880" y="3263"/>
                    <a:pt x="878" y="3256"/>
                    <a:pt x="878" y="3256"/>
                  </a:cubicBezTo>
                  <a:cubicBezTo>
                    <a:pt x="878" y="3256"/>
                    <a:pt x="877" y="3262"/>
                    <a:pt x="875" y="3267"/>
                  </a:cubicBezTo>
                  <a:cubicBezTo>
                    <a:pt x="873" y="3272"/>
                    <a:pt x="871" y="3278"/>
                    <a:pt x="871" y="3278"/>
                  </a:cubicBezTo>
                  <a:cubicBezTo>
                    <a:pt x="861" y="3252"/>
                    <a:pt x="846" y="3248"/>
                    <a:pt x="839" y="3228"/>
                  </a:cubicBezTo>
                  <a:cubicBezTo>
                    <a:pt x="842" y="3245"/>
                    <a:pt x="843" y="3245"/>
                    <a:pt x="840" y="3266"/>
                  </a:cubicBezTo>
                  <a:cubicBezTo>
                    <a:pt x="832" y="3294"/>
                    <a:pt x="827" y="3306"/>
                    <a:pt x="813" y="3297"/>
                  </a:cubicBezTo>
                  <a:cubicBezTo>
                    <a:pt x="820" y="3277"/>
                    <a:pt x="828" y="3277"/>
                    <a:pt x="823" y="3262"/>
                  </a:cubicBezTo>
                  <a:cubicBezTo>
                    <a:pt x="825" y="3271"/>
                    <a:pt x="816" y="3285"/>
                    <a:pt x="808" y="3289"/>
                  </a:cubicBezTo>
                  <a:cubicBezTo>
                    <a:pt x="804" y="3276"/>
                    <a:pt x="792" y="3274"/>
                    <a:pt x="802" y="3254"/>
                  </a:cubicBezTo>
                  <a:cubicBezTo>
                    <a:pt x="808" y="3248"/>
                    <a:pt x="807" y="3255"/>
                    <a:pt x="808" y="3258"/>
                  </a:cubicBezTo>
                  <a:cubicBezTo>
                    <a:pt x="811" y="3255"/>
                    <a:pt x="809" y="3251"/>
                    <a:pt x="810" y="3245"/>
                  </a:cubicBezTo>
                  <a:cubicBezTo>
                    <a:pt x="810" y="3239"/>
                    <a:pt x="812" y="3232"/>
                    <a:pt x="820" y="3223"/>
                  </a:cubicBezTo>
                  <a:lnTo>
                    <a:pt x="807" y="3230"/>
                  </a:lnTo>
                  <a:cubicBezTo>
                    <a:pt x="808" y="3222"/>
                    <a:pt x="813" y="3215"/>
                    <a:pt x="817" y="3209"/>
                  </a:cubicBezTo>
                  <a:cubicBezTo>
                    <a:pt x="822" y="3203"/>
                    <a:pt x="826" y="3197"/>
                    <a:pt x="828" y="3192"/>
                  </a:cubicBezTo>
                  <a:cubicBezTo>
                    <a:pt x="818" y="3199"/>
                    <a:pt x="804" y="3215"/>
                    <a:pt x="787" y="3231"/>
                  </a:cubicBezTo>
                  <a:cubicBezTo>
                    <a:pt x="770" y="3247"/>
                    <a:pt x="751" y="3263"/>
                    <a:pt x="734" y="3271"/>
                  </a:cubicBezTo>
                  <a:cubicBezTo>
                    <a:pt x="745" y="3260"/>
                    <a:pt x="784" y="3213"/>
                    <a:pt x="772" y="3227"/>
                  </a:cubicBezTo>
                  <a:cubicBezTo>
                    <a:pt x="772" y="3220"/>
                    <a:pt x="756" y="3234"/>
                    <a:pt x="734" y="3250"/>
                  </a:cubicBezTo>
                  <a:cubicBezTo>
                    <a:pt x="712" y="3266"/>
                    <a:pt x="684" y="3284"/>
                    <a:pt x="672" y="3287"/>
                  </a:cubicBezTo>
                  <a:cubicBezTo>
                    <a:pt x="690" y="3273"/>
                    <a:pt x="691" y="3278"/>
                    <a:pt x="703" y="3270"/>
                  </a:cubicBezTo>
                  <a:cubicBezTo>
                    <a:pt x="688" y="3265"/>
                    <a:pt x="673" y="3262"/>
                    <a:pt x="664" y="3257"/>
                  </a:cubicBezTo>
                  <a:cubicBezTo>
                    <a:pt x="653" y="3251"/>
                    <a:pt x="650" y="3242"/>
                    <a:pt x="681" y="3216"/>
                  </a:cubicBezTo>
                  <a:cubicBezTo>
                    <a:pt x="681" y="3216"/>
                    <a:pt x="655" y="3230"/>
                    <a:pt x="629" y="3244"/>
                  </a:cubicBezTo>
                  <a:cubicBezTo>
                    <a:pt x="602" y="3258"/>
                    <a:pt x="575" y="3272"/>
                    <a:pt x="575" y="3272"/>
                  </a:cubicBezTo>
                  <a:cubicBezTo>
                    <a:pt x="575" y="3272"/>
                    <a:pt x="588" y="3264"/>
                    <a:pt x="602" y="3255"/>
                  </a:cubicBezTo>
                  <a:cubicBezTo>
                    <a:pt x="617" y="3246"/>
                    <a:pt x="631" y="3237"/>
                    <a:pt x="631" y="3237"/>
                  </a:cubicBezTo>
                  <a:cubicBezTo>
                    <a:pt x="633" y="3235"/>
                    <a:pt x="634" y="3234"/>
                    <a:pt x="635" y="3232"/>
                  </a:cubicBezTo>
                  <a:lnTo>
                    <a:pt x="638" y="3229"/>
                  </a:lnTo>
                  <a:lnTo>
                    <a:pt x="642" y="3224"/>
                  </a:lnTo>
                  <a:cubicBezTo>
                    <a:pt x="646" y="3217"/>
                    <a:pt x="649" y="3212"/>
                    <a:pt x="651" y="3208"/>
                  </a:cubicBezTo>
                  <a:cubicBezTo>
                    <a:pt x="654" y="3199"/>
                    <a:pt x="653" y="3194"/>
                    <a:pt x="650" y="3189"/>
                  </a:cubicBezTo>
                  <a:cubicBezTo>
                    <a:pt x="644" y="3181"/>
                    <a:pt x="630" y="3175"/>
                    <a:pt x="631" y="3163"/>
                  </a:cubicBezTo>
                  <a:cubicBezTo>
                    <a:pt x="634" y="3155"/>
                    <a:pt x="698" y="3144"/>
                    <a:pt x="726" y="3136"/>
                  </a:cubicBezTo>
                  <a:cubicBezTo>
                    <a:pt x="737" y="3130"/>
                    <a:pt x="719" y="3130"/>
                    <a:pt x="701" y="3128"/>
                  </a:cubicBezTo>
                  <a:cubicBezTo>
                    <a:pt x="683" y="3127"/>
                    <a:pt x="664" y="3124"/>
                    <a:pt x="667" y="3114"/>
                  </a:cubicBezTo>
                  <a:cubicBezTo>
                    <a:pt x="685" y="3117"/>
                    <a:pt x="745" y="3115"/>
                    <a:pt x="753" y="3111"/>
                  </a:cubicBezTo>
                  <a:cubicBezTo>
                    <a:pt x="734" y="3111"/>
                    <a:pt x="703" y="3110"/>
                    <a:pt x="720" y="3106"/>
                  </a:cubicBezTo>
                  <a:lnTo>
                    <a:pt x="739" y="3108"/>
                  </a:lnTo>
                  <a:cubicBezTo>
                    <a:pt x="756" y="3106"/>
                    <a:pt x="758" y="3105"/>
                    <a:pt x="758" y="3103"/>
                  </a:cubicBezTo>
                  <a:cubicBezTo>
                    <a:pt x="758" y="3102"/>
                    <a:pt x="757" y="3099"/>
                    <a:pt x="766" y="3097"/>
                  </a:cubicBezTo>
                  <a:cubicBezTo>
                    <a:pt x="772" y="3091"/>
                    <a:pt x="767" y="3085"/>
                    <a:pt x="758" y="3074"/>
                  </a:cubicBezTo>
                  <a:cubicBezTo>
                    <a:pt x="749" y="3063"/>
                    <a:pt x="736" y="3048"/>
                    <a:pt x="722" y="3026"/>
                  </a:cubicBezTo>
                  <a:cubicBezTo>
                    <a:pt x="735" y="3018"/>
                    <a:pt x="745" y="3025"/>
                    <a:pt x="754" y="3034"/>
                  </a:cubicBezTo>
                  <a:cubicBezTo>
                    <a:pt x="763" y="3043"/>
                    <a:pt x="772" y="3053"/>
                    <a:pt x="778" y="3055"/>
                  </a:cubicBezTo>
                  <a:cubicBezTo>
                    <a:pt x="752" y="3055"/>
                    <a:pt x="778" y="3064"/>
                    <a:pt x="792" y="3073"/>
                  </a:cubicBezTo>
                  <a:cubicBezTo>
                    <a:pt x="783" y="3064"/>
                    <a:pt x="783" y="3053"/>
                    <a:pt x="813" y="3069"/>
                  </a:cubicBezTo>
                  <a:cubicBezTo>
                    <a:pt x="817" y="3064"/>
                    <a:pt x="819" y="3064"/>
                    <a:pt x="809" y="3043"/>
                  </a:cubicBezTo>
                  <a:cubicBezTo>
                    <a:pt x="814" y="3053"/>
                    <a:pt x="799" y="3044"/>
                    <a:pt x="791" y="3032"/>
                  </a:cubicBezTo>
                  <a:cubicBezTo>
                    <a:pt x="795" y="3032"/>
                    <a:pt x="798" y="3031"/>
                    <a:pt x="801" y="3030"/>
                  </a:cubicBezTo>
                  <a:lnTo>
                    <a:pt x="802" y="3029"/>
                  </a:lnTo>
                  <a:lnTo>
                    <a:pt x="803" y="3029"/>
                  </a:lnTo>
                  <a:lnTo>
                    <a:pt x="804" y="3028"/>
                  </a:lnTo>
                  <a:lnTo>
                    <a:pt x="809" y="3025"/>
                  </a:lnTo>
                  <a:cubicBezTo>
                    <a:pt x="812" y="3022"/>
                    <a:pt x="815" y="3020"/>
                    <a:pt x="819" y="3018"/>
                  </a:cubicBezTo>
                  <a:cubicBezTo>
                    <a:pt x="832" y="3011"/>
                    <a:pt x="846" y="3007"/>
                    <a:pt x="858" y="3023"/>
                  </a:cubicBezTo>
                  <a:cubicBezTo>
                    <a:pt x="939" y="2938"/>
                    <a:pt x="1041" y="2854"/>
                    <a:pt x="1129" y="2764"/>
                  </a:cubicBezTo>
                  <a:cubicBezTo>
                    <a:pt x="1130" y="2735"/>
                    <a:pt x="1112" y="2770"/>
                    <a:pt x="1110" y="2751"/>
                  </a:cubicBezTo>
                  <a:cubicBezTo>
                    <a:pt x="1114" y="2711"/>
                    <a:pt x="1138" y="2744"/>
                    <a:pt x="1140" y="2712"/>
                  </a:cubicBezTo>
                  <a:lnTo>
                    <a:pt x="1148" y="2734"/>
                  </a:lnTo>
                  <a:cubicBezTo>
                    <a:pt x="1177" y="2711"/>
                    <a:pt x="1176" y="2655"/>
                    <a:pt x="1187" y="2615"/>
                  </a:cubicBezTo>
                  <a:cubicBezTo>
                    <a:pt x="1200" y="2637"/>
                    <a:pt x="1222" y="2609"/>
                    <a:pt x="1211" y="2641"/>
                  </a:cubicBezTo>
                  <a:cubicBezTo>
                    <a:pt x="1221" y="2626"/>
                    <a:pt x="1314" y="2689"/>
                    <a:pt x="1308" y="2663"/>
                  </a:cubicBezTo>
                  <a:lnTo>
                    <a:pt x="1220" y="2604"/>
                  </a:lnTo>
                  <a:cubicBezTo>
                    <a:pt x="1214" y="2596"/>
                    <a:pt x="1235" y="2583"/>
                    <a:pt x="1229" y="2580"/>
                  </a:cubicBezTo>
                  <a:cubicBezTo>
                    <a:pt x="1254" y="2584"/>
                    <a:pt x="1284" y="2587"/>
                    <a:pt x="1291" y="2580"/>
                  </a:cubicBezTo>
                  <a:cubicBezTo>
                    <a:pt x="1314" y="2595"/>
                    <a:pt x="1291" y="2610"/>
                    <a:pt x="1281" y="2619"/>
                  </a:cubicBezTo>
                  <a:cubicBezTo>
                    <a:pt x="1310" y="2652"/>
                    <a:pt x="1335" y="2604"/>
                    <a:pt x="1349" y="2647"/>
                  </a:cubicBezTo>
                  <a:cubicBezTo>
                    <a:pt x="1366" y="2620"/>
                    <a:pt x="1330" y="2635"/>
                    <a:pt x="1331" y="2610"/>
                  </a:cubicBezTo>
                  <a:lnTo>
                    <a:pt x="1357" y="2597"/>
                  </a:lnTo>
                  <a:lnTo>
                    <a:pt x="1332" y="2602"/>
                  </a:lnTo>
                  <a:cubicBezTo>
                    <a:pt x="1338" y="2577"/>
                    <a:pt x="1320" y="2548"/>
                    <a:pt x="1358" y="2543"/>
                  </a:cubicBezTo>
                  <a:lnTo>
                    <a:pt x="1349" y="2491"/>
                  </a:lnTo>
                  <a:cubicBezTo>
                    <a:pt x="1376" y="2513"/>
                    <a:pt x="1369" y="2479"/>
                    <a:pt x="1386" y="2473"/>
                  </a:cubicBezTo>
                  <a:lnTo>
                    <a:pt x="1395" y="2495"/>
                  </a:lnTo>
                  <a:cubicBezTo>
                    <a:pt x="1409" y="2479"/>
                    <a:pt x="1419" y="2477"/>
                    <a:pt x="1438" y="2476"/>
                  </a:cubicBezTo>
                  <a:cubicBezTo>
                    <a:pt x="1451" y="2506"/>
                    <a:pt x="1419" y="2485"/>
                    <a:pt x="1436" y="2509"/>
                  </a:cubicBezTo>
                  <a:lnTo>
                    <a:pt x="1460" y="2499"/>
                  </a:lnTo>
                  <a:cubicBezTo>
                    <a:pt x="1446" y="2485"/>
                    <a:pt x="1445" y="2464"/>
                    <a:pt x="1425" y="2468"/>
                  </a:cubicBezTo>
                  <a:cubicBezTo>
                    <a:pt x="1413" y="2427"/>
                    <a:pt x="1399" y="2398"/>
                    <a:pt x="1439" y="2360"/>
                  </a:cubicBezTo>
                  <a:cubicBezTo>
                    <a:pt x="1480" y="2365"/>
                    <a:pt x="1442" y="2400"/>
                    <a:pt x="1473" y="2415"/>
                  </a:cubicBezTo>
                  <a:cubicBezTo>
                    <a:pt x="1523" y="2383"/>
                    <a:pt x="1457" y="2305"/>
                    <a:pt x="1482" y="2284"/>
                  </a:cubicBezTo>
                  <a:cubicBezTo>
                    <a:pt x="1521" y="2262"/>
                    <a:pt x="1497" y="2243"/>
                    <a:pt x="1524" y="2210"/>
                  </a:cubicBezTo>
                  <a:cubicBezTo>
                    <a:pt x="1531" y="2235"/>
                    <a:pt x="1562" y="2204"/>
                    <a:pt x="1583" y="2213"/>
                  </a:cubicBezTo>
                  <a:lnTo>
                    <a:pt x="1589" y="2241"/>
                  </a:lnTo>
                  <a:cubicBezTo>
                    <a:pt x="1593" y="2227"/>
                    <a:pt x="1608" y="2224"/>
                    <a:pt x="1617" y="2238"/>
                  </a:cubicBezTo>
                  <a:cubicBezTo>
                    <a:pt x="1593" y="2219"/>
                    <a:pt x="1633" y="2177"/>
                    <a:pt x="1642" y="2145"/>
                  </a:cubicBezTo>
                  <a:lnTo>
                    <a:pt x="1619" y="2131"/>
                  </a:lnTo>
                  <a:cubicBezTo>
                    <a:pt x="1628" y="2108"/>
                    <a:pt x="1636" y="2073"/>
                    <a:pt x="1658" y="2058"/>
                  </a:cubicBezTo>
                  <a:cubicBezTo>
                    <a:pt x="1675" y="2024"/>
                    <a:pt x="1652" y="2016"/>
                    <a:pt x="1647" y="1976"/>
                  </a:cubicBezTo>
                  <a:cubicBezTo>
                    <a:pt x="1675" y="1979"/>
                    <a:pt x="1696" y="1997"/>
                    <a:pt x="1715" y="2019"/>
                  </a:cubicBezTo>
                  <a:cubicBezTo>
                    <a:pt x="1699" y="2019"/>
                    <a:pt x="1694" y="2037"/>
                    <a:pt x="1677" y="2045"/>
                  </a:cubicBezTo>
                  <a:cubicBezTo>
                    <a:pt x="1665" y="2095"/>
                    <a:pt x="1682" y="2160"/>
                    <a:pt x="1642" y="2186"/>
                  </a:cubicBezTo>
                  <a:cubicBezTo>
                    <a:pt x="1676" y="2243"/>
                    <a:pt x="1657" y="2158"/>
                    <a:pt x="1689" y="2155"/>
                  </a:cubicBezTo>
                  <a:cubicBezTo>
                    <a:pt x="1691" y="2158"/>
                    <a:pt x="1691" y="2160"/>
                    <a:pt x="1690" y="2162"/>
                  </a:cubicBezTo>
                  <a:cubicBezTo>
                    <a:pt x="1692" y="2160"/>
                    <a:pt x="1693" y="2159"/>
                    <a:pt x="1696" y="2159"/>
                  </a:cubicBezTo>
                  <a:cubicBezTo>
                    <a:pt x="1690" y="2177"/>
                    <a:pt x="1680" y="2204"/>
                    <a:pt x="1701" y="2229"/>
                  </a:cubicBezTo>
                  <a:cubicBezTo>
                    <a:pt x="1715" y="2203"/>
                    <a:pt x="1667" y="2172"/>
                    <a:pt x="1711" y="2163"/>
                  </a:cubicBezTo>
                  <a:cubicBezTo>
                    <a:pt x="1714" y="2131"/>
                    <a:pt x="1767" y="2147"/>
                    <a:pt x="1781" y="2137"/>
                  </a:cubicBezTo>
                  <a:cubicBezTo>
                    <a:pt x="1774" y="2108"/>
                    <a:pt x="1735" y="2075"/>
                    <a:pt x="1770" y="2047"/>
                  </a:cubicBezTo>
                  <a:lnTo>
                    <a:pt x="1786" y="2084"/>
                  </a:lnTo>
                  <a:cubicBezTo>
                    <a:pt x="1818" y="2044"/>
                    <a:pt x="1760" y="2034"/>
                    <a:pt x="1789" y="1997"/>
                  </a:cubicBezTo>
                  <a:cubicBezTo>
                    <a:pt x="1776" y="2008"/>
                    <a:pt x="1771" y="1964"/>
                    <a:pt x="1751" y="1988"/>
                  </a:cubicBezTo>
                  <a:cubicBezTo>
                    <a:pt x="1745" y="1964"/>
                    <a:pt x="1762" y="1936"/>
                    <a:pt x="1785" y="1921"/>
                  </a:cubicBezTo>
                  <a:cubicBezTo>
                    <a:pt x="1784" y="1912"/>
                    <a:pt x="1775" y="1913"/>
                    <a:pt x="1766" y="1905"/>
                  </a:cubicBezTo>
                  <a:cubicBezTo>
                    <a:pt x="1748" y="1909"/>
                    <a:pt x="1747" y="1921"/>
                    <a:pt x="1745" y="1932"/>
                  </a:cubicBezTo>
                  <a:cubicBezTo>
                    <a:pt x="1743" y="1943"/>
                    <a:pt x="1740" y="1953"/>
                    <a:pt x="1719" y="1951"/>
                  </a:cubicBezTo>
                  <a:lnTo>
                    <a:pt x="1738" y="1989"/>
                  </a:lnTo>
                  <a:cubicBezTo>
                    <a:pt x="1711" y="2001"/>
                    <a:pt x="1686" y="1984"/>
                    <a:pt x="1683" y="1962"/>
                  </a:cubicBezTo>
                  <a:cubicBezTo>
                    <a:pt x="1680" y="1969"/>
                    <a:pt x="1680" y="1977"/>
                    <a:pt x="1672" y="1977"/>
                  </a:cubicBezTo>
                  <a:cubicBezTo>
                    <a:pt x="1624" y="1944"/>
                    <a:pt x="1707" y="1966"/>
                    <a:pt x="1673" y="1929"/>
                  </a:cubicBezTo>
                  <a:lnTo>
                    <a:pt x="1665" y="1946"/>
                  </a:lnTo>
                  <a:cubicBezTo>
                    <a:pt x="1631" y="1928"/>
                    <a:pt x="1663" y="1894"/>
                    <a:pt x="1678" y="1878"/>
                  </a:cubicBezTo>
                  <a:cubicBezTo>
                    <a:pt x="1707" y="1868"/>
                    <a:pt x="1725" y="1852"/>
                    <a:pt x="1749" y="1866"/>
                  </a:cubicBezTo>
                  <a:lnTo>
                    <a:pt x="1739" y="1901"/>
                  </a:lnTo>
                  <a:cubicBezTo>
                    <a:pt x="1767" y="1899"/>
                    <a:pt x="1753" y="1857"/>
                    <a:pt x="1765" y="1841"/>
                  </a:cubicBezTo>
                  <a:cubicBezTo>
                    <a:pt x="1768" y="1842"/>
                    <a:pt x="1772" y="1842"/>
                    <a:pt x="1775" y="1841"/>
                  </a:cubicBezTo>
                  <a:cubicBezTo>
                    <a:pt x="1772" y="1841"/>
                    <a:pt x="1770" y="1840"/>
                    <a:pt x="1768" y="1839"/>
                  </a:cubicBezTo>
                  <a:cubicBezTo>
                    <a:pt x="1771" y="1836"/>
                    <a:pt x="1776" y="1834"/>
                    <a:pt x="1783" y="1835"/>
                  </a:cubicBezTo>
                  <a:cubicBezTo>
                    <a:pt x="1794" y="1820"/>
                    <a:pt x="1792" y="1789"/>
                    <a:pt x="1808" y="1779"/>
                  </a:cubicBezTo>
                  <a:lnTo>
                    <a:pt x="1786" y="1769"/>
                  </a:lnTo>
                  <a:lnTo>
                    <a:pt x="1796" y="1778"/>
                  </a:lnTo>
                  <a:cubicBezTo>
                    <a:pt x="1788" y="1792"/>
                    <a:pt x="1764" y="1803"/>
                    <a:pt x="1754" y="1783"/>
                  </a:cubicBezTo>
                  <a:cubicBezTo>
                    <a:pt x="1757" y="1745"/>
                    <a:pt x="1801" y="1760"/>
                    <a:pt x="1824" y="1762"/>
                  </a:cubicBezTo>
                  <a:cubicBezTo>
                    <a:pt x="1839" y="1775"/>
                    <a:pt x="1834" y="1783"/>
                    <a:pt x="1827" y="1790"/>
                  </a:cubicBezTo>
                  <a:cubicBezTo>
                    <a:pt x="1819" y="1798"/>
                    <a:pt x="1808" y="1805"/>
                    <a:pt x="1808" y="1817"/>
                  </a:cubicBezTo>
                  <a:cubicBezTo>
                    <a:pt x="1846" y="1825"/>
                    <a:pt x="1831" y="1786"/>
                    <a:pt x="1870" y="1762"/>
                  </a:cubicBezTo>
                  <a:cubicBezTo>
                    <a:pt x="1899" y="1794"/>
                    <a:pt x="1848" y="1802"/>
                    <a:pt x="1877" y="1828"/>
                  </a:cubicBezTo>
                  <a:cubicBezTo>
                    <a:pt x="1888" y="1815"/>
                    <a:pt x="1888" y="1803"/>
                    <a:pt x="1888" y="1792"/>
                  </a:cubicBezTo>
                  <a:cubicBezTo>
                    <a:pt x="1889" y="1780"/>
                    <a:pt x="1889" y="1768"/>
                    <a:pt x="1901" y="1755"/>
                  </a:cubicBezTo>
                  <a:cubicBezTo>
                    <a:pt x="1916" y="1767"/>
                    <a:pt x="1903" y="1799"/>
                    <a:pt x="1925" y="1807"/>
                  </a:cubicBezTo>
                  <a:cubicBezTo>
                    <a:pt x="1925" y="1807"/>
                    <a:pt x="1930" y="1804"/>
                    <a:pt x="1935" y="1800"/>
                  </a:cubicBezTo>
                  <a:cubicBezTo>
                    <a:pt x="1941" y="1796"/>
                    <a:pt x="1946" y="1792"/>
                    <a:pt x="1946" y="1792"/>
                  </a:cubicBezTo>
                  <a:cubicBezTo>
                    <a:pt x="1934" y="1818"/>
                    <a:pt x="1946" y="1821"/>
                    <a:pt x="1960" y="1824"/>
                  </a:cubicBezTo>
                  <a:cubicBezTo>
                    <a:pt x="1974" y="1826"/>
                    <a:pt x="1990" y="1828"/>
                    <a:pt x="1983" y="1851"/>
                  </a:cubicBezTo>
                  <a:cubicBezTo>
                    <a:pt x="2008" y="1838"/>
                    <a:pt x="1968" y="1809"/>
                    <a:pt x="2004" y="1791"/>
                  </a:cubicBezTo>
                  <a:cubicBezTo>
                    <a:pt x="1984" y="1792"/>
                    <a:pt x="1945" y="1800"/>
                    <a:pt x="1943" y="1767"/>
                  </a:cubicBezTo>
                  <a:cubicBezTo>
                    <a:pt x="1943" y="1767"/>
                    <a:pt x="1950" y="1761"/>
                    <a:pt x="1955" y="1755"/>
                  </a:cubicBezTo>
                  <a:cubicBezTo>
                    <a:pt x="1961" y="1749"/>
                    <a:pt x="1967" y="1742"/>
                    <a:pt x="1967" y="1742"/>
                  </a:cubicBezTo>
                  <a:cubicBezTo>
                    <a:pt x="1991" y="1737"/>
                    <a:pt x="1993" y="1792"/>
                    <a:pt x="2017" y="1778"/>
                  </a:cubicBezTo>
                  <a:cubicBezTo>
                    <a:pt x="2017" y="1778"/>
                    <a:pt x="2017" y="1768"/>
                    <a:pt x="2018" y="1759"/>
                  </a:cubicBezTo>
                  <a:cubicBezTo>
                    <a:pt x="2018" y="1749"/>
                    <a:pt x="2018" y="1739"/>
                    <a:pt x="2018" y="1739"/>
                  </a:cubicBezTo>
                  <a:cubicBezTo>
                    <a:pt x="2007" y="1736"/>
                    <a:pt x="1994" y="1749"/>
                    <a:pt x="1983" y="1733"/>
                  </a:cubicBezTo>
                  <a:cubicBezTo>
                    <a:pt x="2003" y="1719"/>
                    <a:pt x="1952" y="1685"/>
                    <a:pt x="1943" y="1659"/>
                  </a:cubicBezTo>
                  <a:cubicBezTo>
                    <a:pt x="1949" y="1643"/>
                    <a:pt x="1956" y="1630"/>
                    <a:pt x="1971" y="1628"/>
                  </a:cubicBezTo>
                  <a:cubicBezTo>
                    <a:pt x="1951" y="1575"/>
                    <a:pt x="1964" y="1522"/>
                    <a:pt x="1938" y="1478"/>
                  </a:cubicBezTo>
                  <a:cubicBezTo>
                    <a:pt x="1957" y="1508"/>
                    <a:pt x="1979" y="1484"/>
                    <a:pt x="1999" y="1471"/>
                  </a:cubicBezTo>
                  <a:cubicBezTo>
                    <a:pt x="1999" y="1503"/>
                    <a:pt x="2036" y="1511"/>
                    <a:pt x="2060" y="1513"/>
                  </a:cubicBezTo>
                  <a:cubicBezTo>
                    <a:pt x="2060" y="1492"/>
                    <a:pt x="2023" y="1473"/>
                    <a:pt x="2009" y="1480"/>
                  </a:cubicBezTo>
                  <a:cubicBezTo>
                    <a:pt x="2030" y="1451"/>
                    <a:pt x="1987" y="1454"/>
                    <a:pt x="2016" y="1430"/>
                  </a:cubicBezTo>
                  <a:cubicBezTo>
                    <a:pt x="2032" y="1413"/>
                    <a:pt x="2052" y="1444"/>
                    <a:pt x="2067" y="1440"/>
                  </a:cubicBezTo>
                  <a:cubicBezTo>
                    <a:pt x="2073" y="1404"/>
                    <a:pt x="2023" y="1424"/>
                    <a:pt x="2036" y="1388"/>
                  </a:cubicBezTo>
                  <a:cubicBezTo>
                    <a:pt x="2040" y="1390"/>
                    <a:pt x="2042" y="1394"/>
                    <a:pt x="2049" y="1392"/>
                  </a:cubicBezTo>
                  <a:cubicBezTo>
                    <a:pt x="2059" y="1372"/>
                    <a:pt x="2043" y="1348"/>
                    <a:pt x="2025" y="1343"/>
                  </a:cubicBezTo>
                  <a:cubicBezTo>
                    <a:pt x="2076" y="1324"/>
                    <a:pt x="2022" y="1282"/>
                    <a:pt x="2070" y="1288"/>
                  </a:cubicBezTo>
                  <a:cubicBezTo>
                    <a:pt x="2059" y="1239"/>
                    <a:pt x="2044" y="1295"/>
                    <a:pt x="2027" y="1284"/>
                  </a:cubicBezTo>
                  <a:cubicBezTo>
                    <a:pt x="2007" y="1264"/>
                    <a:pt x="2025" y="1229"/>
                    <a:pt x="2032" y="1217"/>
                  </a:cubicBezTo>
                  <a:cubicBezTo>
                    <a:pt x="2034" y="1229"/>
                    <a:pt x="2047" y="1240"/>
                    <a:pt x="2039" y="1251"/>
                  </a:cubicBezTo>
                  <a:lnTo>
                    <a:pt x="2072" y="1242"/>
                  </a:lnTo>
                  <a:cubicBezTo>
                    <a:pt x="2096" y="1181"/>
                    <a:pt x="1997" y="1204"/>
                    <a:pt x="2025" y="1147"/>
                  </a:cubicBezTo>
                  <a:cubicBezTo>
                    <a:pt x="2043" y="1176"/>
                    <a:pt x="2050" y="1156"/>
                    <a:pt x="2074" y="1170"/>
                  </a:cubicBezTo>
                  <a:cubicBezTo>
                    <a:pt x="2066" y="1161"/>
                    <a:pt x="2073" y="1116"/>
                    <a:pt x="2049" y="1144"/>
                  </a:cubicBezTo>
                  <a:cubicBezTo>
                    <a:pt x="2051" y="1122"/>
                    <a:pt x="2056" y="1107"/>
                    <a:pt x="2061" y="1092"/>
                  </a:cubicBezTo>
                  <a:cubicBezTo>
                    <a:pt x="2048" y="1074"/>
                    <a:pt x="2037" y="1054"/>
                    <a:pt x="2014" y="1045"/>
                  </a:cubicBezTo>
                  <a:cubicBezTo>
                    <a:pt x="2016" y="1016"/>
                    <a:pt x="2037" y="991"/>
                    <a:pt x="2050" y="975"/>
                  </a:cubicBezTo>
                  <a:cubicBezTo>
                    <a:pt x="2034" y="944"/>
                    <a:pt x="2035" y="913"/>
                    <a:pt x="2034" y="881"/>
                  </a:cubicBezTo>
                  <a:cubicBezTo>
                    <a:pt x="2034" y="865"/>
                    <a:pt x="2033" y="849"/>
                    <a:pt x="2030" y="833"/>
                  </a:cubicBezTo>
                  <a:cubicBezTo>
                    <a:pt x="2026" y="817"/>
                    <a:pt x="2021" y="801"/>
                    <a:pt x="2011" y="785"/>
                  </a:cubicBezTo>
                  <a:lnTo>
                    <a:pt x="2010" y="790"/>
                  </a:lnTo>
                  <a:cubicBezTo>
                    <a:pt x="2007" y="763"/>
                    <a:pt x="1998" y="772"/>
                    <a:pt x="1988" y="780"/>
                  </a:cubicBezTo>
                  <a:cubicBezTo>
                    <a:pt x="1977" y="788"/>
                    <a:pt x="1967" y="796"/>
                    <a:pt x="1961" y="769"/>
                  </a:cubicBezTo>
                  <a:cubicBezTo>
                    <a:pt x="1982" y="768"/>
                    <a:pt x="1987" y="758"/>
                    <a:pt x="1988" y="746"/>
                  </a:cubicBezTo>
                  <a:cubicBezTo>
                    <a:pt x="1990" y="733"/>
                    <a:pt x="1988" y="718"/>
                    <a:pt x="1996" y="707"/>
                  </a:cubicBezTo>
                  <a:cubicBezTo>
                    <a:pt x="1996" y="688"/>
                    <a:pt x="1992" y="672"/>
                    <a:pt x="1986" y="657"/>
                  </a:cubicBezTo>
                  <a:cubicBezTo>
                    <a:pt x="1979" y="642"/>
                    <a:pt x="1972" y="629"/>
                    <a:pt x="1963" y="616"/>
                  </a:cubicBezTo>
                  <a:cubicBezTo>
                    <a:pt x="1954" y="603"/>
                    <a:pt x="1946" y="590"/>
                    <a:pt x="1940" y="576"/>
                  </a:cubicBezTo>
                  <a:cubicBezTo>
                    <a:pt x="1933" y="562"/>
                    <a:pt x="1928" y="547"/>
                    <a:pt x="1927" y="528"/>
                  </a:cubicBezTo>
                  <a:cubicBezTo>
                    <a:pt x="1935" y="525"/>
                    <a:pt x="1946" y="525"/>
                    <a:pt x="1953" y="537"/>
                  </a:cubicBezTo>
                  <a:cubicBezTo>
                    <a:pt x="1943" y="483"/>
                    <a:pt x="1913" y="447"/>
                    <a:pt x="1888" y="404"/>
                  </a:cubicBezTo>
                  <a:lnTo>
                    <a:pt x="1893" y="403"/>
                  </a:lnTo>
                  <a:cubicBezTo>
                    <a:pt x="1884" y="360"/>
                    <a:pt x="1858" y="327"/>
                    <a:pt x="1825" y="302"/>
                  </a:cubicBezTo>
                  <a:cubicBezTo>
                    <a:pt x="1809" y="288"/>
                    <a:pt x="1790" y="277"/>
                    <a:pt x="1771" y="266"/>
                  </a:cubicBezTo>
                  <a:cubicBezTo>
                    <a:pt x="1754" y="254"/>
                    <a:pt x="1734" y="245"/>
                    <a:pt x="1715" y="233"/>
                  </a:cubicBezTo>
                  <a:cubicBezTo>
                    <a:pt x="1724" y="233"/>
                    <a:pt x="1735" y="222"/>
                    <a:pt x="1743" y="222"/>
                  </a:cubicBezTo>
                  <a:cubicBezTo>
                    <a:pt x="1735" y="213"/>
                    <a:pt x="1726" y="203"/>
                    <a:pt x="1715" y="193"/>
                  </a:cubicBezTo>
                  <a:cubicBezTo>
                    <a:pt x="1705" y="184"/>
                    <a:pt x="1692" y="176"/>
                    <a:pt x="1680" y="169"/>
                  </a:cubicBezTo>
                  <a:cubicBezTo>
                    <a:pt x="1655" y="155"/>
                    <a:pt x="1627" y="149"/>
                    <a:pt x="1604" y="158"/>
                  </a:cubicBezTo>
                  <a:cubicBezTo>
                    <a:pt x="1589" y="129"/>
                    <a:pt x="1579" y="128"/>
                    <a:pt x="1568" y="127"/>
                  </a:cubicBezTo>
                  <a:cubicBezTo>
                    <a:pt x="1557" y="126"/>
                    <a:pt x="1545" y="124"/>
                    <a:pt x="1519" y="94"/>
                  </a:cubicBezTo>
                  <a:cubicBezTo>
                    <a:pt x="1517" y="86"/>
                    <a:pt x="1527" y="90"/>
                    <a:pt x="1532" y="90"/>
                  </a:cubicBezTo>
                  <a:cubicBezTo>
                    <a:pt x="1518" y="78"/>
                    <a:pt x="1505" y="72"/>
                    <a:pt x="1491" y="66"/>
                  </a:cubicBezTo>
                  <a:cubicBezTo>
                    <a:pt x="1478" y="61"/>
                    <a:pt x="1464" y="57"/>
                    <a:pt x="1448" y="51"/>
                  </a:cubicBezTo>
                  <a:cubicBezTo>
                    <a:pt x="1409" y="56"/>
                    <a:pt x="1384" y="72"/>
                    <a:pt x="1360" y="83"/>
                  </a:cubicBezTo>
                  <a:cubicBezTo>
                    <a:pt x="1348" y="88"/>
                    <a:pt x="1336" y="93"/>
                    <a:pt x="1322" y="94"/>
                  </a:cubicBezTo>
                  <a:cubicBezTo>
                    <a:pt x="1309" y="96"/>
                    <a:pt x="1294" y="95"/>
                    <a:pt x="1275" y="90"/>
                  </a:cubicBezTo>
                  <a:cubicBezTo>
                    <a:pt x="1275" y="34"/>
                    <a:pt x="1323" y="80"/>
                    <a:pt x="1329" y="37"/>
                  </a:cubicBezTo>
                  <a:cubicBezTo>
                    <a:pt x="1312" y="45"/>
                    <a:pt x="1298" y="55"/>
                    <a:pt x="1278" y="40"/>
                  </a:cubicBezTo>
                  <a:cubicBezTo>
                    <a:pt x="1292" y="19"/>
                    <a:pt x="1281" y="27"/>
                    <a:pt x="1292" y="7"/>
                  </a:cubicBezTo>
                  <a:cubicBezTo>
                    <a:pt x="1284" y="0"/>
                    <a:pt x="1266" y="13"/>
                    <a:pt x="1251" y="28"/>
                  </a:cubicBezTo>
                  <a:cubicBezTo>
                    <a:pt x="1236" y="43"/>
                    <a:pt x="1224" y="60"/>
                    <a:pt x="1224" y="57"/>
                  </a:cubicBezTo>
                  <a:cubicBezTo>
                    <a:pt x="1223" y="68"/>
                    <a:pt x="1228" y="74"/>
                    <a:pt x="1243" y="72"/>
                  </a:cubicBezTo>
                  <a:cubicBezTo>
                    <a:pt x="1225" y="106"/>
                    <a:pt x="1171" y="74"/>
                    <a:pt x="1137" y="89"/>
                  </a:cubicBezTo>
                  <a:cubicBezTo>
                    <a:pt x="1149" y="90"/>
                    <a:pt x="1184" y="100"/>
                    <a:pt x="1171" y="126"/>
                  </a:cubicBezTo>
                  <a:cubicBezTo>
                    <a:pt x="1125" y="116"/>
                    <a:pt x="1113" y="170"/>
                    <a:pt x="1085" y="194"/>
                  </a:cubicBezTo>
                  <a:cubicBezTo>
                    <a:pt x="1044" y="172"/>
                    <a:pt x="1111" y="145"/>
                    <a:pt x="1102" y="107"/>
                  </a:cubicBezTo>
                  <a:cubicBezTo>
                    <a:pt x="1094" y="93"/>
                    <a:pt x="1076" y="64"/>
                    <a:pt x="1092" y="47"/>
                  </a:cubicBezTo>
                  <a:cubicBezTo>
                    <a:pt x="1054" y="42"/>
                    <a:pt x="1030" y="77"/>
                    <a:pt x="999" y="88"/>
                  </a:cubicBezTo>
                  <a:lnTo>
                    <a:pt x="999" y="77"/>
                  </a:lnTo>
                  <a:cubicBezTo>
                    <a:pt x="955" y="86"/>
                    <a:pt x="914" y="139"/>
                    <a:pt x="875" y="122"/>
                  </a:cubicBezTo>
                  <a:lnTo>
                    <a:pt x="896" y="132"/>
                  </a:lnTo>
                  <a:cubicBezTo>
                    <a:pt x="889" y="139"/>
                    <a:pt x="867" y="139"/>
                    <a:pt x="858" y="163"/>
                  </a:cubicBezTo>
                  <a:cubicBezTo>
                    <a:pt x="857" y="144"/>
                    <a:pt x="826" y="132"/>
                    <a:pt x="836" y="116"/>
                  </a:cubicBezTo>
                  <a:cubicBezTo>
                    <a:pt x="824" y="176"/>
                    <a:pt x="742" y="165"/>
                    <a:pt x="730" y="224"/>
                  </a:cubicBezTo>
                  <a:cubicBezTo>
                    <a:pt x="716" y="212"/>
                    <a:pt x="721" y="187"/>
                    <a:pt x="722" y="173"/>
                  </a:cubicBezTo>
                  <a:cubicBezTo>
                    <a:pt x="750" y="173"/>
                    <a:pt x="761" y="183"/>
                    <a:pt x="772" y="158"/>
                  </a:cubicBezTo>
                  <a:cubicBezTo>
                    <a:pt x="749" y="162"/>
                    <a:pt x="730" y="150"/>
                    <a:pt x="731" y="137"/>
                  </a:cubicBezTo>
                  <a:cubicBezTo>
                    <a:pt x="714" y="176"/>
                    <a:pt x="663" y="200"/>
                    <a:pt x="659" y="238"/>
                  </a:cubicBezTo>
                  <a:cubicBezTo>
                    <a:pt x="639" y="223"/>
                    <a:pt x="622" y="217"/>
                    <a:pt x="621" y="186"/>
                  </a:cubicBezTo>
                  <a:cubicBezTo>
                    <a:pt x="589" y="202"/>
                    <a:pt x="602" y="223"/>
                    <a:pt x="613" y="242"/>
                  </a:cubicBezTo>
                  <a:cubicBezTo>
                    <a:pt x="625" y="261"/>
                    <a:pt x="635" y="278"/>
                    <a:pt x="597" y="286"/>
                  </a:cubicBezTo>
                  <a:cubicBezTo>
                    <a:pt x="556" y="265"/>
                    <a:pt x="623" y="240"/>
                    <a:pt x="572" y="240"/>
                  </a:cubicBezTo>
                  <a:lnTo>
                    <a:pt x="580" y="234"/>
                  </a:lnTo>
                  <a:cubicBezTo>
                    <a:pt x="528" y="165"/>
                    <a:pt x="567" y="293"/>
                    <a:pt x="528" y="300"/>
                  </a:cubicBezTo>
                  <a:cubicBezTo>
                    <a:pt x="513" y="259"/>
                    <a:pt x="548" y="264"/>
                    <a:pt x="514" y="240"/>
                  </a:cubicBezTo>
                  <a:cubicBezTo>
                    <a:pt x="480" y="259"/>
                    <a:pt x="480" y="324"/>
                    <a:pt x="441" y="320"/>
                  </a:cubicBezTo>
                  <a:lnTo>
                    <a:pt x="442" y="301"/>
                  </a:lnTo>
                  <a:cubicBezTo>
                    <a:pt x="420" y="310"/>
                    <a:pt x="373" y="314"/>
                    <a:pt x="352" y="323"/>
                  </a:cubicBezTo>
                  <a:cubicBezTo>
                    <a:pt x="348" y="315"/>
                    <a:pt x="352" y="316"/>
                    <a:pt x="356" y="312"/>
                  </a:cubicBezTo>
                  <a:cubicBezTo>
                    <a:pt x="309" y="309"/>
                    <a:pt x="344" y="338"/>
                    <a:pt x="302" y="320"/>
                  </a:cubicBezTo>
                  <a:lnTo>
                    <a:pt x="298" y="342"/>
                  </a:lnTo>
                  <a:cubicBezTo>
                    <a:pt x="319" y="351"/>
                    <a:pt x="358" y="362"/>
                    <a:pt x="373" y="333"/>
                  </a:cubicBezTo>
                  <a:cubicBezTo>
                    <a:pt x="358" y="362"/>
                    <a:pt x="421" y="375"/>
                    <a:pt x="420" y="413"/>
                  </a:cubicBezTo>
                  <a:lnTo>
                    <a:pt x="420" y="398"/>
                  </a:lnTo>
                  <a:cubicBezTo>
                    <a:pt x="492" y="443"/>
                    <a:pt x="564" y="434"/>
                    <a:pt x="639" y="442"/>
                  </a:cubicBezTo>
                  <a:cubicBezTo>
                    <a:pt x="674" y="390"/>
                    <a:pt x="717" y="444"/>
                    <a:pt x="759" y="407"/>
                  </a:cubicBezTo>
                  <a:cubicBezTo>
                    <a:pt x="758" y="357"/>
                    <a:pt x="766" y="395"/>
                    <a:pt x="806" y="379"/>
                  </a:cubicBezTo>
                  <a:cubicBezTo>
                    <a:pt x="785" y="388"/>
                    <a:pt x="809" y="416"/>
                    <a:pt x="824" y="421"/>
                  </a:cubicBezTo>
                  <a:cubicBezTo>
                    <a:pt x="830" y="407"/>
                    <a:pt x="839" y="401"/>
                    <a:pt x="848" y="395"/>
                  </a:cubicBezTo>
                  <a:cubicBezTo>
                    <a:pt x="859" y="410"/>
                    <a:pt x="915" y="443"/>
                    <a:pt x="930" y="407"/>
                  </a:cubicBezTo>
                  <a:cubicBezTo>
                    <a:pt x="957" y="420"/>
                    <a:pt x="926" y="424"/>
                    <a:pt x="922" y="435"/>
                  </a:cubicBezTo>
                  <a:cubicBezTo>
                    <a:pt x="935" y="459"/>
                    <a:pt x="940" y="413"/>
                    <a:pt x="950" y="429"/>
                  </a:cubicBezTo>
                  <a:cubicBezTo>
                    <a:pt x="950" y="429"/>
                    <a:pt x="950" y="434"/>
                    <a:pt x="948" y="437"/>
                  </a:cubicBezTo>
                  <a:cubicBezTo>
                    <a:pt x="986" y="430"/>
                    <a:pt x="1010" y="441"/>
                    <a:pt x="1049" y="443"/>
                  </a:cubicBezTo>
                  <a:cubicBezTo>
                    <a:pt x="1048" y="394"/>
                    <a:pt x="1086" y="422"/>
                    <a:pt x="1102" y="403"/>
                  </a:cubicBezTo>
                  <a:cubicBezTo>
                    <a:pt x="1097" y="419"/>
                    <a:pt x="1125" y="420"/>
                    <a:pt x="1136" y="429"/>
                  </a:cubicBezTo>
                  <a:lnTo>
                    <a:pt x="1154" y="392"/>
                  </a:lnTo>
                  <a:cubicBezTo>
                    <a:pt x="1174" y="360"/>
                    <a:pt x="1183" y="413"/>
                    <a:pt x="1208" y="396"/>
                  </a:cubicBezTo>
                  <a:lnTo>
                    <a:pt x="1202" y="387"/>
                  </a:lnTo>
                  <a:cubicBezTo>
                    <a:pt x="1211" y="380"/>
                    <a:pt x="1228" y="384"/>
                    <a:pt x="1244" y="394"/>
                  </a:cubicBezTo>
                  <a:cubicBezTo>
                    <a:pt x="1260" y="403"/>
                    <a:pt x="1275" y="418"/>
                    <a:pt x="1282" y="432"/>
                  </a:cubicBezTo>
                  <a:cubicBezTo>
                    <a:pt x="1323" y="412"/>
                    <a:pt x="1360" y="410"/>
                    <a:pt x="1390" y="419"/>
                  </a:cubicBezTo>
                  <a:cubicBezTo>
                    <a:pt x="1420" y="428"/>
                    <a:pt x="1443" y="447"/>
                    <a:pt x="1461" y="469"/>
                  </a:cubicBezTo>
                  <a:lnTo>
                    <a:pt x="1467" y="477"/>
                  </a:lnTo>
                  <a:lnTo>
                    <a:pt x="1473" y="486"/>
                  </a:lnTo>
                  <a:cubicBezTo>
                    <a:pt x="1477" y="492"/>
                    <a:pt x="1481" y="498"/>
                    <a:pt x="1485" y="504"/>
                  </a:cubicBezTo>
                  <a:cubicBezTo>
                    <a:pt x="1489" y="509"/>
                    <a:pt x="1491" y="517"/>
                    <a:pt x="1495" y="522"/>
                  </a:cubicBezTo>
                  <a:cubicBezTo>
                    <a:pt x="1498" y="529"/>
                    <a:pt x="1502" y="534"/>
                    <a:pt x="1505" y="540"/>
                  </a:cubicBezTo>
                  <a:cubicBezTo>
                    <a:pt x="1512" y="553"/>
                    <a:pt x="1520" y="564"/>
                    <a:pt x="1528" y="577"/>
                  </a:cubicBezTo>
                  <a:cubicBezTo>
                    <a:pt x="1532" y="583"/>
                    <a:pt x="1538" y="588"/>
                    <a:pt x="1542" y="595"/>
                  </a:cubicBezTo>
                  <a:cubicBezTo>
                    <a:pt x="1547" y="601"/>
                    <a:pt x="1553" y="607"/>
                    <a:pt x="1560" y="613"/>
                  </a:cubicBezTo>
                  <a:cubicBezTo>
                    <a:pt x="1577" y="612"/>
                    <a:pt x="1576" y="594"/>
                    <a:pt x="1598" y="587"/>
                  </a:cubicBezTo>
                  <a:cubicBezTo>
                    <a:pt x="1612" y="597"/>
                    <a:pt x="1612" y="602"/>
                    <a:pt x="1620" y="614"/>
                  </a:cubicBezTo>
                  <a:cubicBezTo>
                    <a:pt x="1624" y="596"/>
                    <a:pt x="1612" y="606"/>
                    <a:pt x="1624" y="601"/>
                  </a:cubicBezTo>
                  <a:lnTo>
                    <a:pt x="1601" y="589"/>
                  </a:lnTo>
                  <a:cubicBezTo>
                    <a:pt x="1603" y="586"/>
                    <a:pt x="1606" y="587"/>
                    <a:pt x="1610" y="582"/>
                  </a:cubicBezTo>
                  <a:cubicBezTo>
                    <a:pt x="1602" y="578"/>
                    <a:pt x="1589" y="577"/>
                    <a:pt x="1585" y="568"/>
                  </a:cubicBezTo>
                  <a:cubicBezTo>
                    <a:pt x="1594" y="569"/>
                    <a:pt x="1607" y="566"/>
                    <a:pt x="1617" y="565"/>
                  </a:cubicBezTo>
                  <a:cubicBezTo>
                    <a:pt x="1628" y="564"/>
                    <a:pt x="1636" y="566"/>
                    <a:pt x="1635" y="578"/>
                  </a:cubicBezTo>
                  <a:cubicBezTo>
                    <a:pt x="1630" y="580"/>
                    <a:pt x="1628" y="578"/>
                    <a:pt x="1622" y="575"/>
                  </a:cubicBezTo>
                  <a:cubicBezTo>
                    <a:pt x="1629" y="591"/>
                    <a:pt x="1644" y="583"/>
                    <a:pt x="1642" y="598"/>
                  </a:cubicBezTo>
                  <a:cubicBezTo>
                    <a:pt x="1643" y="615"/>
                    <a:pt x="1651" y="607"/>
                    <a:pt x="1638" y="616"/>
                  </a:cubicBezTo>
                  <a:cubicBezTo>
                    <a:pt x="1638" y="616"/>
                    <a:pt x="1639" y="629"/>
                    <a:pt x="1641" y="641"/>
                  </a:cubicBezTo>
                  <a:cubicBezTo>
                    <a:pt x="1641" y="648"/>
                    <a:pt x="1642" y="654"/>
                    <a:pt x="1642" y="659"/>
                  </a:cubicBezTo>
                  <a:cubicBezTo>
                    <a:pt x="1642" y="663"/>
                    <a:pt x="1642" y="667"/>
                    <a:pt x="1642" y="667"/>
                  </a:cubicBezTo>
                  <a:cubicBezTo>
                    <a:pt x="1667" y="668"/>
                    <a:pt x="1673" y="680"/>
                    <a:pt x="1672" y="693"/>
                  </a:cubicBezTo>
                  <a:cubicBezTo>
                    <a:pt x="1672" y="706"/>
                    <a:pt x="1664" y="719"/>
                    <a:pt x="1664" y="723"/>
                  </a:cubicBezTo>
                  <a:cubicBezTo>
                    <a:pt x="1632" y="730"/>
                    <a:pt x="1644" y="697"/>
                    <a:pt x="1610" y="700"/>
                  </a:cubicBezTo>
                  <a:cubicBezTo>
                    <a:pt x="1610" y="700"/>
                    <a:pt x="1606" y="706"/>
                    <a:pt x="1602" y="712"/>
                  </a:cubicBezTo>
                  <a:cubicBezTo>
                    <a:pt x="1598" y="717"/>
                    <a:pt x="1594" y="723"/>
                    <a:pt x="1594" y="723"/>
                  </a:cubicBezTo>
                  <a:lnTo>
                    <a:pt x="1618" y="714"/>
                  </a:lnTo>
                  <a:lnTo>
                    <a:pt x="1620" y="739"/>
                  </a:lnTo>
                  <a:lnTo>
                    <a:pt x="1615" y="739"/>
                  </a:lnTo>
                  <a:cubicBezTo>
                    <a:pt x="1625" y="738"/>
                    <a:pt x="1636" y="738"/>
                    <a:pt x="1630" y="746"/>
                  </a:cubicBezTo>
                  <a:cubicBezTo>
                    <a:pt x="1627" y="748"/>
                    <a:pt x="1621" y="753"/>
                    <a:pt x="1618" y="751"/>
                  </a:cubicBezTo>
                  <a:cubicBezTo>
                    <a:pt x="1618" y="751"/>
                    <a:pt x="1623" y="754"/>
                    <a:pt x="1628" y="757"/>
                  </a:cubicBezTo>
                  <a:cubicBezTo>
                    <a:pt x="1633" y="759"/>
                    <a:pt x="1637" y="762"/>
                    <a:pt x="1637" y="762"/>
                  </a:cubicBezTo>
                  <a:cubicBezTo>
                    <a:pt x="1609" y="761"/>
                    <a:pt x="1634" y="779"/>
                    <a:pt x="1604" y="786"/>
                  </a:cubicBezTo>
                  <a:cubicBezTo>
                    <a:pt x="1605" y="800"/>
                    <a:pt x="1608" y="810"/>
                    <a:pt x="1613" y="819"/>
                  </a:cubicBezTo>
                  <a:cubicBezTo>
                    <a:pt x="1618" y="828"/>
                    <a:pt x="1625" y="835"/>
                    <a:pt x="1630" y="843"/>
                  </a:cubicBezTo>
                  <a:cubicBezTo>
                    <a:pt x="1641" y="858"/>
                    <a:pt x="1649" y="873"/>
                    <a:pt x="1632" y="902"/>
                  </a:cubicBezTo>
                  <a:cubicBezTo>
                    <a:pt x="1645" y="891"/>
                    <a:pt x="1684" y="909"/>
                    <a:pt x="1680" y="927"/>
                  </a:cubicBezTo>
                  <a:cubicBezTo>
                    <a:pt x="1674" y="937"/>
                    <a:pt x="1668" y="941"/>
                    <a:pt x="1655" y="937"/>
                  </a:cubicBezTo>
                  <a:lnTo>
                    <a:pt x="1674" y="955"/>
                  </a:lnTo>
                  <a:cubicBezTo>
                    <a:pt x="1630" y="988"/>
                    <a:pt x="1664" y="1009"/>
                    <a:pt x="1651" y="1050"/>
                  </a:cubicBezTo>
                  <a:lnTo>
                    <a:pt x="1638" y="1049"/>
                  </a:lnTo>
                  <a:cubicBezTo>
                    <a:pt x="1655" y="1062"/>
                    <a:pt x="1669" y="1078"/>
                    <a:pt x="1665" y="1101"/>
                  </a:cubicBezTo>
                  <a:lnTo>
                    <a:pt x="1638" y="1099"/>
                  </a:lnTo>
                  <a:cubicBezTo>
                    <a:pt x="1620" y="1127"/>
                    <a:pt x="1696" y="1116"/>
                    <a:pt x="1680" y="1147"/>
                  </a:cubicBezTo>
                  <a:cubicBezTo>
                    <a:pt x="1709" y="1146"/>
                    <a:pt x="1724" y="1126"/>
                    <a:pt x="1751" y="1122"/>
                  </a:cubicBezTo>
                  <a:cubicBezTo>
                    <a:pt x="1722" y="1131"/>
                    <a:pt x="1719" y="1164"/>
                    <a:pt x="1739" y="1155"/>
                  </a:cubicBezTo>
                  <a:cubicBezTo>
                    <a:pt x="1752" y="1186"/>
                    <a:pt x="1739" y="1177"/>
                    <a:pt x="1732" y="1179"/>
                  </a:cubicBezTo>
                  <a:lnTo>
                    <a:pt x="1750" y="1197"/>
                  </a:lnTo>
                  <a:cubicBezTo>
                    <a:pt x="1749" y="1219"/>
                    <a:pt x="1712" y="1204"/>
                    <a:pt x="1695" y="1197"/>
                  </a:cubicBezTo>
                  <a:cubicBezTo>
                    <a:pt x="1727" y="1216"/>
                    <a:pt x="1705" y="1238"/>
                    <a:pt x="1699" y="1259"/>
                  </a:cubicBezTo>
                  <a:lnTo>
                    <a:pt x="1686" y="1250"/>
                  </a:lnTo>
                  <a:cubicBezTo>
                    <a:pt x="1686" y="1250"/>
                    <a:pt x="1685" y="1257"/>
                    <a:pt x="1683" y="1265"/>
                  </a:cubicBezTo>
                  <a:cubicBezTo>
                    <a:pt x="1682" y="1272"/>
                    <a:pt x="1680" y="1279"/>
                    <a:pt x="1680" y="1279"/>
                  </a:cubicBezTo>
                  <a:cubicBezTo>
                    <a:pt x="1702" y="1298"/>
                    <a:pt x="1702" y="1325"/>
                    <a:pt x="1688" y="1347"/>
                  </a:cubicBezTo>
                  <a:cubicBezTo>
                    <a:pt x="1688" y="1347"/>
                    <a:pt x="1679" y="1342"/>
                    <a:pt x="1670" y="1337"/>
                  </a:cubicBezTo>
                  <a:cubicBezTo>
                    <a:pt x="1661" y="1332"/>
                    <a:pt x="1651" y="1327"/>
                    <a:pt x="1651" y="1327"/>
                  </a:cubicBezTo>
                  <a:cubicBezTo>
                    <a:pt x="1630" y="1342"/>
                    <a:pt x="1664" y="1337"/>
                    <a:pt x="1670" y="1342"/>
                  </a:cubicBezTo>
                  <a:cubicBezTo>
                    <a:pt x="1686" y="1369"/>
                    <a:pt x="1659" y="1372"/>
                    <a:pt x="1636" y="1382"/>
                  </a:cubicBezTo>
                  <a:cubicBezTo>
                    <a:pt x="1645" y="1393"/>
                    <a:pt x="1644" y="1403"/>
                    <a:pt x="1640" y="1412"/>
                  </a:cubicBezTo>
                  <a:cubicBezTo>
                    <a:pt x="1635" y="1421"/>
                    <a:pt x="1626" y="1429"/>
                    <a:pt x="1618" y="1436"/>
                  </a:cubicBezTo>
                  <a:cubicBezTo>
                    <a:pt x="1601" y="1451"/>
                    <a:pt x="1586" y="1464"/>
                    <a:pt x="1610" y="148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98">
              <a:extLst>
                <a:ext uri="{FF2B5EF4-FFF2-40B4-BE49-F238E27FC236}">
                  <a16:creationId xmlns:a16="http://schemas.microsoft.com/office/drawing/2014/main" id="{9FD88081-7B6C-47BF-A906-DE1D68EC243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2" y="993"/>
              <a:ext cx="1" cy="1"/>
            </a:xfrm>
            <a:custGeom>
              <a:avLst/>
              <a:gdLst>
                <a:gd name="T0" fmla="*/ 0 w 5"/>
                <a:gd name="T1" fmla="*/ 7 h 7"/>
                <a:gd name="T2" fmla="*/ 0 w 5"/>
                <a:gd name="T3" fmla="*/ 7 h 7"/>
                <a:gd name="T4" fmla="*/ 5 w 5"/>
                <a:gd name="T5" fmla="*/ 0 h 7"/>
                <a:gd name="T6" fmla="*/ 0 w 5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7">
                  <a:moveTo>
                    <a:pt x="0" y="7"/>
                  </a:moveTo>
                  <a:lnTo>
                    <a:pt x="0" y="7"/>
                  </a:lnTo>
                  <a:cubicBezTo>
                    <a:pt x="2" y="4"/>
                    <a:pt x="4" y="2"/>
                    <a:pt x="5" y="0"/>
                  </a:cubicBezTo>
                  <a:cubicBezTo>
                    <a:pt x="4" y="2"/>
                    <a:pt x="2" y="4"/>
                    <a:pt x="0" y="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99">
              <a:extLst>
                <a:ext uri="{FF2B5EF4-FFF2-40B4-BE49-F238E27FC236}">
                  <a16:creationId xmlns:a16="http://schemas.microsoft.com/office/drawing/2014/main" id="{4507E5F0-AB76-44A6-B488-9E4CA2AAC862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4" y="924"/>
              <a:ext cx="4" cy="3"/>
            </a:xfrm>
            <a:custGeom>
              <a:avLst/>
              <a:gdLst>
                <a:gd name="T0" fmla="*/ 23 w 23"/>
                <a:gd name="T1" fmla="*/ 3 h 13"/>
                <a:gd name="T2" fmla="*/ 23 w 23"/>
                <a:gd name="T3" fmla="*/ 3 h 13"/>
                <a:gd name="T4" fmla="*/ 0 w 23"/>
                <a:gd name="T5" fmla="*/ 12 h 13"/>
                <a:gd name="T6" fmla="*/ 23 w 23"/>
                <a:gd name="T7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13">
                  <a:moveTo>
                    <a:pt x="23" y="3"/>
                  </a:moveTo>
                  <a:lnTo>
                    <a:pt x="23" y="3"/>
                  </a:lnTo>
                  <a:cubicBezTo>
                    <a:pt x="20" y="0"/>
                    <a:pt x="11" y="6"/>
                    <a:pt x="0" y="12"/>
                  </a:cubicBezTo>
                  <a:cubicBezTo>
                    <a:pt x="7" y="13"/>
                    <a:pt x="14" y="11"/>
                    <a:pt x="23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00">
              <a:extLst>
                <a:ext uri="{FF2B5EF4-FFF2-40B4-BE49-F238E27FC236}">
                  <a16:creationId xmlns:a16="http://schemas.microsoft.com/office/drawing/2014/main" id="{9CC37FA6-D44E-4E2D-9126-DD717C65E0F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1" y="1230"/>
              <a:ext cx="16" cy="11"/>
            </a:xfrm>
            <a:custGeom>
              <a:avLst/>
              <a:gdLst>
                <a:gd name="T0" fmla="*/ 29 w 82"/>
                <a:gd name="T1" fmla="*/ 40 h 62"/>
                <a:gd name="T2" fmla="*/ 29 w 82"/>
                <a:gd name="T3" fmla="*/ 40 h 62"/>
                <a:gd name="T4" fmla="*/ 19 w 82"/>
                <a:gd name="T5" fmla="*/ 45 h 62"/>
                <a:gd name="T6" fmla="*/ 36 w 82"/>
                <a:gd name="T7" fmla="*/ 62 h 62"/>
                <a:gd name="T8" fmla="*/ 82 w 82"/>
                <a:gd name="T9" fmla="*/ 0 h 62"/>
                <a:gd name="T10" fmla="*/ 0 w 82"/>
                <a:gd name="T11" fmla="*/ 13 h 62"/>
                <a:gd name="T12" fmla="*/ 29 w 82"/>
                <a:gd name="T13" fmla="*/ 4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62">
                  <a:moveTo>
                    <a:pt x="29" y="40"/>
                  </a:moveTo>
                  <a:lnTo>
                    <a:pt x="29" y="40"/>
                  </a:lnTo>
                  <a:lnTo>
                    <a:pt x="19" y="45"/>
                  </a:lnTo>
                  <a:lnTo>
                    <a:pt x="36" y="62"/>
                  </a:lnTo>
                  <a:cubicBezTo>
                    <a:pt x="68" y="47"/>
                    <a:pt x="72" y="25"/>
                    <a:pt x="82" y="0"/>
                  </a:cubicBezTo>
                  <a:cubicBezTo>
                    <a:pt x="52" y="22"/>
                    <a:pt x="36" y="8"/>
                    <a:pt x="0" y="13"/>
                  </a:cubicBezTo>
                  <a:lnTo>
                    <a:pt x="29" y="4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01">
              <a:extLst>
                <a:ext uri="{FF2B5EF4-FFF2-40B4-BE49-F238E27FC236}">
                  <a16:creationId xmlns:a16="http://schemas.microsoft.com/office/drawing/2014/main" id="{45A470F1-2A56-40F3-8049-206B046FC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2" y="1199"/>
              <a:ext cx="4" cy="6"/>
            </a:xfrm>
            <a:custGeom>
              <a:avLst/>
              <a:gdLst>
                <a:gd name="T0" fmla="*/ 19 w 19"/>
                <a:gd name="T1" fmla="*/ 27 h 27"/>
                <a:gd name="T2" fmla="*/ 19 w 19"/>
                <a:gd name="T3" fmla="*/ 27 h 27"/>
                <a:gd name="T4" fmla="*/ 5 w 19"/>
                <a:gd name="T5" fmla="*/ 0 h 27"/>
                <a:gd name="T6" fmla="*/ 0 w 19"/>
                <a:gd name="T7" fmla="*/ 15 h 27"/>
                <a:gd name="T8" fmla="*/ 19 w 19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7">
                  <a:moveTo>
                    <a:pt x="19" y="27"/>
                  </a:moveTo>
                  <a:lnTo>
                    <a:pt x="19" y="27"/>
                  </a:lnTo>
                  <a:cubicBezTo>
                    <a:pt x="17" y="20"/>
                    <a:pt x="10" y="2"/>
                    <a:pt x="5" y="0"/>
                  </a:cubicBezTo>
                  <a:lnTo>
                    <a:pt x="0" y="15"/>
                  </a:lnTo>
                  <a:lnTo>
                    <a:pt x="19" y="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02">
              <a:extLst>
                <a:ext uri="{FF2B5EF4-FFF2-40B4-BE49-F238E27FC236}">
                  <a16:creationId xmlns:a16="http://schemas.microsoft.com/office/drawing/2014/main" id="{084E3E26-697A-4261-81D2-1904F36BD8C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36" y="1182"/>
              <a:ext cx="7" cy="7"/>
            </a:xfrm>
            <a:custGeom>
              <a:avLst/>
              <a:gdLst>
                <a:gd name="T0" fmla="*/ 0 w 40"/>
                <a:gd name="T1" fmla="*/ 24 h 39"/>
                <a:gd name="T2" fmla="*/ 0 w 40"/>
                <a:gd name="T3" fmla="*/ 24 h 39"/>
                <a:gd name="T4" fmla="*/ 30 w 40"/>
                <a:gd name="T5" fmla="*/ 39 h 39"/>
                <a:gd name="T6" fmla="*/ 0 w 40"/>
                <a:gd name="T7" fmla="*/ 2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39">
                  <a:moveTo>
                    <a:pt x="0" y="24"/>
                  </a:moveTo>
                  <a:lnTo>
                    <a:pt x="0" y="24"/>
                  </a:lnTo>
                  <a:lnTo>
                    <a:pt x="30" y="39"/>
                  </a:lnTo>
                  <a:cubicBezTo>
                    <a:pt x="40" y="25"/>
                    <a:pt x="5" y="0"/>
                    <a:pt x="0" y="2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03">
              <a:extLst>
                <a:ext uri="{FF2B5EF4-FFF2-40B4-BE49-F238E27FC236}">
                  <a16:creationId xmlns:a16="http://schemas.microsoft.com/office/drawing/2014/main" id="{77D6B07F-C924-40D7-A366-CA14FBD2C120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5" y="1233"/>
              <a:ext cx="7" cy="6"/>
            </a:xfrm>
            <a:custGeom>
              <a:avLst/>
              <a:gdLst>
                <a:gd name="T0" fmla="*/ 20 w 36"/>
                <a:gd name="T1" fmla="*/ 31 h 31"/>
                <a:gd name="T2" fmla="*/ 20 w 36"/>
                <a:gd name="T3" fmla="*/ 31 h 31"/>
                <a:gd name="T4" fmla="*/ 36 w 36"/>
                <a:gd name="T5" fmla="*/ 14 h 31"/>
                <a:gd name="T6" fmla="*/ 0 w 36"/>
                <a:gd name="T7" fmla="*/ 19 h 31"/>
                <a:gd name="T8" fmla="*/ 20 w 36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1">
                  <a:moveTo>
                    <a:pt x="20" y="31"/>
                  </a:moveTo>
                  <a:lnTo>
                    <a:pt x="20" y="31"/>
                  </a:lnTo>
                  <a:lnTo>
                    <a:pt x="36" y="14"/>
                  </a:lnTo>
                  <a:cubicBezTo>
                    <a:pt x="23" y="0"/>
                    <a:pt x="4" y="1"/>
                    <a:pt x="0" y="19"/>
                  </a:cubicBezTo>
                  <a:cubicBezTo>
                    <a:pt x="19" y="10"/>
                    <a:pt x="4" y="30"/>
                    <a:pt x="20" y="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04">
              <a:extLst>
                <a:ext uri="{FF2B5EF4-FFF2-40B4-BE49-F238E27FC236}">
                  <a16:creationId xmlns:a16="http://schemas.microsoft.com/office/drawing/2014/main" id="{007E2111-DF72-48E6-8566-D7E6D91C8169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3" y="1183"/>
              <a:ext cx="7" cy="8"/>
            </a:xfrm>
            <a:custGeom>
              <a:avLst/>
              <a:gdLst>
                <a:gd name="T0" fmla="*/ 37 w 37"/>
                <a:gd name="T1" fmla="*/ 14 h 45"/>
                <a:gd name="T2" fmla="*/ 37 w 37"/>
                <a:gd name="T3" fmla="*/ 14 h 45"/>
                <a:gd name="T4" fmla="*/ 0 w 37"/>
                <a:gd name="T5" fmla="*/ 29 h 45"/>
                <a:gd name="T6" fmla="*/ 37 w 37"/>
                <a:gd name="T7" fmla="*/ 1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45">
                  <a:moveTo>
                    <a:pt x="37" y="14"/>
                  </a:moveTo>
                  <a:lnTo>
                    <a:pt x="37" y="14"/>
                  </a:lnTo>
                  <a:cubicBezTo>
                    <a:pt x="27" y="44"/>
                    <a:pt x="7" y="0"/>
                    <a:pt x="0" y="29"/>
                  </a:cubicBezTo>
                  <a:cubicBezTo>
                    <a:pt x="8" y="20"/>
                    <a:pt x="35" y="45"/>
                    <a:pt x="37" y="1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05">
              <a:extLst>
                <a:ext uri="{FF2B5EF4-FFF2-40B4-BE49-F238E27FC236}">
                  <a16:creationId xmlns:a16="http://schemas.microsoft.com/office/drawing/2014/main" id="{08FCECA7-070B-4631-BB1C-E00B15E68CF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" y="1237"/>
              <a:ext cx="8" cy="10"/>
            </a:xfrm>
            <a:custGeom>
              <a:avLst/>
              <a:gdLst>
                <a:gd name="T0" fmla="*/ 0 w 42"/>
                <a:gd name="T1" fmla="*/ 20 h 50"/>
                <a:gd name="T2" fmla="*/ 0 w 42"/>
                <a:gd name="T3" fmla="*/ 20 h 50"/>
                <a:gd name="T4" fmla="*/ 42 w 42"/>
                <a:gd name="T5" fmla="*/ 32 h 50"/>
                <a:gd name="T6" fmla="*/ 0 w 42"/>
                <a:gd name="T7" fmla="*/ 2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50">
                  <a:moveTo>
                    <a:pt x="0" y="20"/>
                  </a:moveTo>
                  <a:lnTo>
                    <a:pt x="0" y="20"/>
                  </a:lnTo>
                  <a:cubicBezTo>
                    <a:pt x="8" y="50"/>
                    <a:pt x="24" y="24"/>
                    <a:pt x="42" y="32"/>
                  </a:cubicBezTo>
                  <a:cubicBezTo>
                    <a:pt x="27" y="31"/>
                    <a:pt x="6" y="0"/>
                    <a:pt x="0" y="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06">
              <a:extLst>
                <a:ext uri="{FF2B5EF4-FFF2-40B4-BE49-F238E27FC236}">
                  <a16:creationId xmlns:a16="http://schemas.microsoft.com/office/drawing/2014/main" id="{2D487ADF-BD2A-485F-A71C-CE6E37485E4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6" y="1188"/>
              <a:ext cx="15" cy="15"/>
            </a:xfrm>
            <a:custGeom>
              <a:avLst/>
              <a:gdLst>
                <a:gd name="T0" fmla="*/ 17 w 75"/>
                <a:gd name="T1" fmla="*/ 72 h 77"/>
                <a:gd name="T2" fmla="*/ 17 w 75"/>
                <a:gd name="T3" fmla="*/ 72 h 77"/>
                <a:gd name="T4" fmla="*/ 45 w 75"/>
                <a:gd name="T5" fmla="*/ 57 h 77"/>
                <a:gd name="T6" fmla="*/ 31 w 75"/>
                <a:gd name="T7" fmla="*/ 77 h 77"/>
                <a:gd name="T8" fmla="*/ 75 w 75"/>
                <a:gd name="T9" fmla="*/ 54 h 77"/>
                <a:gd name="T10" fmla="*/ 31 w 75"/>
                <a:gd name="T11" fmla="*/ 0 h 77"/>
                <a:gd name="T12" fmla="*/ 17 w 75"/>
                <a:gd name="T13" fmla="*/ 7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77">
                  <a:moveTo>
                    <a:pt x="17" y="72"/>
                  </a:moveTo>
                  <a:lnTo>
                    <a:pt x="17" y="72"/>
                  </a:lnTo>
                  <a:cubicBezTo>
                    <a:pt x="18" y="50"/>
                    <a:pt x="31" y="52"/>
                    <a:pt x="45" y="57"/>
                  </a:cubicBezTo>
                  <a:cubicBezTo>
                    <a:pt x="40" y="64"/>
                    <a:pt x="37" y="74"/>
                    <a:pt x="31" y="77"/>
                  </a:cubicBezTo>
                  <a:cubicBezTo>
                    <a:pt x="55" y="60"/>
                    <a:pt x="56" y="64"/>
                    <a:pt x="75" y="54"/>
                  </a:cubicBezTo>
                  <a:cubicBezTo>
                    <a:pt x="56" y="38"/>
                    <a:pt x="28" y="28"/>
                    <a:pt x="31" y="0"/>
                  </a:cubicBezTo>
                  <a:cubicBezTo>
                    <a:pt x="17" y="21"/>
                    <a:pt x="0" y="52"/>
                    <a:pt x="17" y="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07">
              <a:extLst>
                <a:ext uri="{FF2B5EF4-FFF2-40B4-BE49-F238E27FC236}">
                  <a16:creationId xmlns:a16="http://schemas.microsoft.com/office/drawing/2014/main" id="{B95B6553-C1C6-42E6-AD38-88D4078D3E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5" y="1232"/>
              <a:ext cx="8" cy="15"/>
            </a:xfrm>
            <a:custGeom>
              <a:avLst/>
              <a:gdLst>
                <a:gd name="T0" fmla="*/ 0 w 42"/>
                <a:gd name="T1" fmla="*/ 52 h 81"/>
                <a:gd name="T2" fmla="*/ 0 w 42"/>
                <a:gd name="T3" fmla="*/ 52 h 81"/>
                <a:gd name="T4" fmla="*/ 42 w 42"/>
                <a:gd name="T5" fmla="*/ 80 h 81"/>
                <a:gd name="T6" fmla="*/ 13 w 42"/>
                <a:gd name="T7" fmla="*/ 45 h 81"/>
                <a:gd name="T8" fmla="*/ 21 w 42"/>
                <a:gd name="T9" fmla="*/ 20 h 81"/>
                <a:gd name="T10" fmla="*/ 0 w 42"/>
                <a:gd name="T11" fmla="*/ 5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81">
                  <a:moveTo>
                    <a:pt x="0" y="52"/>
                  </a:moveTo>
                  <a:lnTo>
                    <a:pt x="0" y="52"/>
                  </a:lnTo>
                  <a:cubicBezTo>
                    <a:pt x="15" y="61"/>
                    <a:pt x="24" y="81"/>
                    <a:pt x="42" y="80"/>
                  </a:cubicBezTo>
                  <a:cubicBezTo>
                    <a:pt x="40" y="65"/>
                    <a:pt x="34" y="42"/>
                    <a:pt x="13" y="45"/>
                  </a:cubicBezTo>
                  <a:lnTo>
                    <a:pt x="21" y="20"/>
                  </a:lnTo>
                  <a:cubicBezTo>
                    <a:pt x="1" y="0"/>
                    <a:pt x="28" y="54"/>
                    <a:pt x="0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08">
              <a:extLst>
                <a:ext uri="{FF2B5EF4-FFF2-40B4-BE49-F238E27FC236}">
                  <a16:creationId xmlns:a16="http://schemas.microsoft.com/office/drawing/2014/main" id="{DB0D17A6-20EE-4E19-8A3D-BCC3F2E144DA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3" y="1185"/>
              <a:ext cx="14" cy="8"/>
            </a:xfrm>
            <a:custGeom>
              <a:avLst/>
              <a:gdLst>
                <a:gd name="T0" fmla="*/ 0 w 72"/>
                <a:gd name="T1" fmla="*/ 31 h 43"/>
                <a:gd name="T2" fmla="*/ 0 w 72"/>
                <a:gd name="T3" fmla="*/ 31 h 43"/>
                <a:gd name="T4" fmla="*/ 9 w 72"/>
                <a:gd name="T5" fmla="*/ 43 h 43"/>
                <a:gd name="T6" fmla="*/ 72 w 72"/>
                <a:gd name="T7" fmla="*/ 0 h 43"/>
                <a:gd name="T8" fmla="*/ 0 w 72"/>
                <a:gd name="T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43">
                  <a:moveTo>
                    <a:pt x="0" y="31"/>
                  </a:moveTo>
                  <a:lnTo>
                    <a:pt x="0" y="31"/>
                  </a:lnTo>
                  <a:lnTo>
                    <a:pt x="9" y="43"/>
                  </a:lnTo>
                  <a:cubicBezTo>
                    <a:pt x="31" y="22"/>
                    <a:pt x="60" y="32"/>
                    <a:pt x="72" y="0"/>
                  </a:cubicBezTo>
                  <a:cubicBezTo>
                    <a:pt x="45" y="1"/>
                    <a:pt x="12" y="16"/>
                    <a:pt x="0" y="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09">
              <a:extLst>
                <a:ext uri="{FF2B5EF4-FFF2-40B4-BE49-F238E27FC236}">
                  <a16:creationId xmlns:a16="http://schemas.microsoft.com/office/drawing/2014/main" id="{2F003F4B-3D87-4104-BECF-8414C83987D9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0" y="1230"/>
              <a:ext cx="5" cy="10"/>
            </a:xfrm>
            <a:custGeom>
              <a:avLst/>
              <a:gdLst>
                <a:gd name="T0" fmla="*/ 5 w 27"/>
                <a:gd name="T1" fmla="*/ 11 h 53"/>
                <a:gd name="T2" fmla="*/ 5 w 27"/>
                <a:gd name="T3" fmla="*/ 11 h 53"/>
                <a:gd name="T4" fmla="*/ 1 w 27"/>
                <a:gd name="T5" fmla="*/ 47 h 53"/>
                <a:gd name="T6" fmla="*/ 8 w 27"/>
                <a:gd name="T7" fmla="*/ 27 h 53"/>
                <a:gd name="T8" fmla="*/ 27 w 27"/>
                <a:gd name="T9" fmla="*/ 29 h 53"/>
                <a:gd name="T10" fmla="*/ 5 w 27"/>
                <a:gd name="T11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53">
                  <a:moveTo>
                    <a:pt x="5" y="11"/>
                  </a:moveTo>
                  <a:lnTo>
                    <a:pt x="5" y="11"/>
                  </a:lnTo>
                  <a:lnTo>
                    <a:pt x="1" y="47"/>
                  </a:lnTo>
                  <a:cubicBezTo>
                    <a:pt x="23" y="53"/>
                    <a:pt x="0" y="35"/>
                    <a:pt x="8" y="27"/>
                  </a:cubicBezTo>
                  <a:cubicBezTo>
                    <a:pt x="14" y="32"/>
                    <a:pt x="23" y="35"/>
                    <a:pt x="27" y="29"/>
                  </a:cubicBezTo>
                  <a:cubicBezTo>
                    <a:pt x="3" y="34"/>
                    <a:pt x="26" y="0"/>
                    <a:pt x="5" y="1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10">
              <a:extLst>
                <a:ext uri="{FF2B5EF4-FFF2-40B4-BE49-F238E27FC236}">
                  <a16:creationId xmlns:a16="http://schemas.microsoft.com/office/drawing/2014/main" id="{496A0271-6067-4497-8597-161663EC9923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2" y="1240"/>
              <a:ext cx="10" cy="10"/>
            </a:xfrm>
            <a:custGeom>
              <a:avLst/>
              <a:gdLst>
                <a:gd name="T0" fmla="*/ 27 w 53"/>
                <a:gd name="T1" fmla="*/ 0 h 55"/>
                <a:gd name="T2" fmla="*/ 27 w 53"/>
                <a:gd name="T3" fmla="*/ 0 h 55"/>
                <a:gd name="T4" fmla="*/ 0 w 53"/>
                <a:gd name="T5" fmla="*/ 16 h 55"/>
                <a:gd name="T6" fmla="*/ 21 w 53"/>
                <a:gd name="T7" fmla="*/ 55 h 55"/>
                <a:gd name="T8" fmla="*/ 27 w 53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5">
                  <a:moveTo>
                    <a:pt x="27" y="0"/>
                  </a:moveTo>
                  <a:lnTo>
                    <a:pt x="27" y="0"/>
                  </a:lnTo>
                  <a:lnTo>
                    <a:pt x="0" y="16"/>
                  </a:lnTo>
                  <a:lnTo>
                    <a:pt x="21" y="55"/>
                  </a:lnTo>
                  <a:cubicBezTo>
                    <a:pt x="53" y="41"/>
                    <a:pt x="23" y="33"/>
                    <a:pt x="2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1">
              <a:extLst>
                <a:ext uri="{FF2B5EF4-FFF2-40B4-BE49-F238E27FC236}">
                  <a16:creationId xmlns:a16="http://schemas.microsoft.com/office/drawing/2014/main" id="{3B786189-1F91-4186-BAB0-6C62D22B7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2" y="1234"/>
              <a:ext cx="9" cy="10"/>
            </a:xfrm>
            <a:custGeom>
              <a:avLst/>
              <a:gdLst>
                <a:gd name="T0" fmla="*/ 44 w 44"/>
                <a:gd name="T1" fmla="*/ 7 h 54"/>
                <a:gd name="T2" fmla="*/ 44 w 44"/>
                <a:gd name="T3" fmla="*/ 7 h 54"/>
                <a:gd name="T4" fmla="*/ 41 w 44"/>
                <a:gd name="T5" fmla="*/ 0 h 54"/>
                <a:gd name="T6" fmla="*/ 0 w 44"/>
                <a:gd name="T7" fmla="*/ 54 h 54"/>
                <a:gd name="T8" fmla="*/ 44 w 44"/>
                <a:gd name="T9" fmla="*/ 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54">
                  <a:moveTo>
                    <a:pt x="44" y="7"/>
                  </a:moveTo>
                  <a:lnTo>
                    <a:pt x="44" y="7"/>
                  </a:lnTo>
                  <a:lnTo>
                    <a:pt x="41" y="0"/>
                  </a:lnTo>
                  <a:lnTo>
                    <a:pt x="0" y="54"/>
                  </a:lnTo>
                  <a:cubicBezTo>
                    <a:pt x="25" y="31"/>
                    <a:pt x="26" y="35"/>
                    <a:pt x="44" y="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12">
              <a:extLst>
                <a:ext uri="{FF2B5EF4-FFF2-40B4-BE49-F238E27FC236}">
                  <a16:creationId xmlns:a16="http://schemas.microsoft.com/office/drawing/2014/main" id="{B74F11F3-78E9-45AB-A2AC-1F3917C27F2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96" y="1191"/>
              <a:ext cx="2" cy="10"/>
            </a:xfrm>
            <a:custGeom>
              <a:avLst/>
              <a:gdLst>
                <a:gd name="T0" fmla="*/ 9 w 13"/>
                <a:gd name="T1" fmla="*/ 15 h 50"/>
                <a:gd name="T2" fmla="*/ 9 w 13"/>
                <a:gd name="T3" fmla="*/ 15 h 50"/>
                <a:gd name="T4" fmla="*/ 6 w 13"/>
                <a:gd name="T5" fmla="*/ 33 h 50"/>
                <a:gd name="T6" fmla="*/ 9 w 13"/>
                <a:gd name="T7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50">
                  <a:moveTo>
                    <a:pt x="9" y="15"/>
                  </a:moveTo>
                  <a:lnTo>
                    <a:pt x="9" y="15"/>
                  </a:lnTo>
                  <a:cubicBezTo>
                    <a:pt x="0" y="31"/>
                    <a:pt x="4" y="50"/>
                    <a:pt x="6" y="33"/>
                  </a:cubicBezTo>
                  <a:cubicBezTo>
                    <a:pt x="13" y="19"/>
                    <a:pt x="9" y="0"/>
                    <a:pt x="9" y="1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213">
              <a:extLst>
                <a:ext uri="{FF2B5EF4-FFF2-40B4-BE49-F238E27FC236}">
                  <a16:creationId xmlns:a16="http://schemas.microsoft.com/office/drawing/2014/main" id="{88F4263E-C0E9-4B7F-8161-ECBC21EF365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80" y="1248"/>
              <a:ext cx="22" cy="7"/>
            </a:xfrm>
            <a:custGeom>
              <a:avLst/>
              <a:gdLst>
                <a:gd name="T0" fmla="*/ 111 w 114"/>
                <a:gd name="T1" fmla="*/ 6 h 36"/>
                <a:gd name="T2" fmla="*/ 111 w 114"/>
                <a:gd name="T3" fmla="*/ 6 h 36"/>
                <a:gd name="T4" fmla="*/ 62 w 114"/>
                <a:gd name="T5" fmla="*/ 12 h 36"/>
                <a:gd name="T6" fmla="*/ 0 w 114"/>
                <a:gd name="T7" fmla="*/ 36 h 36"/>
                <a:gd name="T8" fmla="*/ 111 w 114"/>
                <a:gd name="T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36">
                  <a:moveTo>
                    <a:pt x="111" y="6"/>
                  </a:moveTo>
                  <a:lnTo>
                    <a:pt x="111" y="6"/>
                  </a:lnTo>
                  <a:cubicBezTo>
                    <a:pt x="102" y="0"/>
                    <a:pt x="83" y="5"/>
                    <a:pt x="62" y="12"/>
                  </a:cubicBezTo>
                  <a:cubicBezTo>
                    <a:pt x="40" y="19"/>
                    <a:pt x="16" y="29"/>
                    <a:pt x="0" y="36"/>
                  </a:cubicBezTo>
                  <a:cubicBezTo>
                    <a:pt x="35" y="26"/>
                    <a:pt x="114" y="26"/>
                    <a:pt x="111" y="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14">
              <a:extLst>
                <a:ext uri="{FF2B5EF4-FFF2-40B4-BE49-F238E27FC236}">
                  <a16:creationId xmlns:a16="http://schemas.microsoft.com/office/drawing/2014/main" id="{F177BC44-B659-40A9-AED2-21C680ED1ABC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8" y="1255"/>
              <a:ext cx="2" cy="1"/>
            </a:xfrm>
            <a:custGeom>
              <a:avLst/>
              <a:gdLst>
                <a:gd name="T0" fmla="*/ 0 w 12"/>
                <a:gd name="T1" fmla="*/ 5 h 5"/>
                <a:gd name="T2" fmla="*/ 0 w 12"/>
                <a:gd name="T3" fmla="*/ 5 h 5"/>
                <a:gd name="T4" fmla="*/ 12 w 12"/>
                <a:gd name="T5" fmla="*/ 0 h 5"/>
                <a:gd name="T6" fmla="*/ 0 w 12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5">
                  <a:moveTo>
                    <a:pt x="0" y="5"/>
                  </a:moveTo>
                  <a:lnTo>
                    <a:pt x="0" y="5"/>
                  </a:lnTo>
                  <a:cubicBezTo>
                    <a:pt x="2" y="4"/>
                    <a:pt x="7" y="2"/>
                    <a:pt x="12" y="0"/>
                  </a:cubicBezTo>
                  <a:cubicBezTo>
                    <a:pt x="7" y="1"/>
                    <a:pt x="3" y="3"/>
                    <a:pt x="0" y="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15">
              <a:extLst>
                <a:ext uri="{FF2B5EF4-FFF2-40B4-BE49-F238E27FC236}">
                  <a16:creationId xmlns:a16="http://schemas.microsoft.com/office/drawing/2014/main" id="{CC5A51B2-5B69-40A3-8D88-89E7B2095097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3" y="1219"/>
              <a:ext cx="0" cy="0"/>
            </a:xfrm>
            <a:custGeom>
              <a:avLst/>
              <a:gdLst>
                <a:gd name="T0" fmla="*/ 4 w 4"/>
                <a:gd name="T1" fmla="*/ 3 h 3"/>
                <a:gd name="T2" fmla="*/ 4 w 4"/>
                <a:gd name="T3" fmla="*/ 3 h 3"/>
                <a:gd name="T4" fmla="*/ 0 w 4"/>
                <a:gd name="T5" fmla="*/ 0 h 3"/>
                <a:gd name="T6" fmla="*/ 4 w 4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lnTo>
                    <a:pt x="4" y="3"/>
                  </a:lnTo>
                  <a:cubicBezTo>
                    <a:pt x="3" y="2"/>
                    <a:pt x="2" y="0"/>
                    <a:pt x="0" y="0"/>
                  </a:cubicBezTo>
                  <a:cubicBezTo>
                    <a:pt x="1" y="1"/>
                    <a:pt x="2" y="2"/>
                    <a:pt x="4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16">
              <a:extLst>
                <a:ext uri="{FF2B5EF4-FFF2-40B4-BE49-F238E27FC236}">
                  <a16:creationId xmlns:a16="http://schemas.microsoft.com/office/drawing/2014/main" id="{9FA80D08-C487-4BB3-94E1-A8928803093D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1" y="1219"/>
              <a:ext cx="7" cy="9"/>
            </a:xfrm>
            <a:custGeom>
              <a:avLst/>
              <a:gdLst>
                <a:gd name="T0" fmla="*/ 22 w 41"/>
                <a:gd name="T1" fmla="*/ 14 h 47"/>
                <a:gd name="T2" fmla="*/ 22 w 41"/>
                <a:gd name="T3" fmla="*/ 14 h 47"/>
                <a:gd name="T4" fmla="*/ 41 w 41"/>
                <a:gd name="T5" fmla="*/ 45 h 47"/>
                <a:gd name="T6" fmla="*/ 14 w 41"/>
                <a:gd name="T7" fmla="*/ 0 h 47"/>
                <a:gd name="T8" fmla="*/ 22 w 41"/>
                <a:gd name="T9" fmla="*/ 1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7">
                  <a:moveTo>
                    <a:pt x="22" y="14"/>
                  </a:moveTo>
                  <a:lnTo>
                    <a:pt x="22" y="14"/>
                  </a:lnTo>
                  <a:cubicBezTo>
                    <a:pt x="14" y="27"/>
                    <a:pt x="23" y="47"/>
                    <a:pt x="41" y="45"/>
                  </a:cubicBezTo>
                  <a:cubicBezTo>
                    <a:pt x="34" y="29"/>
                    <a:pt x="31" y="15"/>
                    <a:pt x="14" y="0"/>
                  </a:cubicBezTo>
                  <a:cubicBezTo>
                    <a:pt x="15" y="8"/>
                    <a:pt x="0" y="21"/>
                    <a:pt x="22" y="1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17">
              <a:extLst>
                <a:ext uri="{FF2B5EF4-FFF2-40B4-BE49-F238E27FC236}">
                  <a16:creationId xmlns:a16="http://schemas.microsoft.com/office/drawing/2014/main" id="{E3854141-4B55-4C98-8A00-E5FA7B6CE1B5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6" y="1190"/>
              <a:ext cx="7" cy="5"/>
            </a:xfrm>
            <a:custGeom>
              <a:avLst/>
              <a:gdLst>
                <a:gd name="T0" fmla="*/ 4 w 35"/>
                <a:gd name="T1" fmla="*/ 7 h 26"/>
                <a:gd name="T2" fmla="*/ 4 w 35"/>
                <a:gd name="T3" fmla="*/ 7 h 26"/>
                <a:gd name="T4" fmla="*/ 23 w 35"/>
                <a:gd name="T5" fmla="*/ 21 h 26"/>
                <a:gd name="T6" fmla="*/ 4 w 35"/>
                <a:gd name="T7" fmla="*/ 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26">
                  <a:moveTo>
                    <a:pt x="4" y="7"/>
                  </a:moveTo>
                  <a:lnTo>
                    <a:pt x="4" y="7"/>
                  </a:lnTo>
                  <a:cubicBezTo>
                    <a:pt x="13" y="14"/>
                    <a:pt x="0" y="26"/>
                    <a:pt x="23" y="21"/>
                  </a:cubicBezTo>
                  <a:cubicBezTo>
                    <a:pt x="35" y="15"/>
                    <a:pt x="23" y="0"/>
                    <a:pt x="4" y="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18">
              <a:extLst>
                <a:ext uri="{FF2B5EF4-FFF2-40B4-BE49-F238E27FC236}">
                  <a16:creationId xmlns:a16="http://schemas.microsoft.com/office/drawing/2014/main" id="{B58DD1B4-8378-4A27-9E01-12C87A8B5499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1" y="1064"/>
              <a:ext cx="6" cy="6"/>
            </a:xfrm>
            <a:custGeom>
              <a:avLst/>
              <a:gdLst>
                <a:gd name="T0" fmla="*/ 12 w 31"/>
                <a:gd name="T1" fmla="*/ 30 h 30"/>
                <a:gd name="T2" fmla="*/ 12 w 31"/>
                <a:gd name="T3" fmla="*/ 30 h 30"/>
                <a:gd name="T4" fmla="*/ 12 w 31"/>
                <a:gd name="T5" fmla="*/ 0 h 30"/>
                <a:gd name="T6" fmla="*/ 12 w 31"/>
                <a:gd name="T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30">
                  <a:moveTo>
                    <a:pt x="12" y="30"/>
                  </a:moveTo>
                  <a:lnTo>
                    <a:pt x="12" y="30"/>
                  </a:lnTo>
                  <a:cubicBezTo>
                    <a:pt x="29" y="24"/>
                    <a:pt x="31" y="13"/>
                    <a:pt x="12" y="0"/>
                  </a:cubicBezTo>
                  <a:cubicBezTo>
                    <a:pt x="0" y="13"/>
                    <a:pt x="16" y="16"/>
                    <a:pt x="12" y="3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19">
              <a:extLst>
                <a:ext uri="{FF2B5EF4-FFF2-40B4-BE49-F238E27FC236}">
                  <a16:creationId xmlns:a16="http://schemas.microsoft.com/office/drawing/2014/main" id="{52D69CFB-2ECA-4AC8-BA6E-D3D4070E20D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5" y="1061"/>
              <a:ext cx="6" cy="2"/>
            </a:xfrm>
            <a:custGeom>
              <a:avLst/>
              <a:gdLst>
                <a:gd name="T0" fmla="*/ 0 w 29"/>
                <a:gd name="T1" fmla="*/ 0 h 10"/>
                <a:gd name="T2" fmla="*/ 0 w 29"/>
                <a:gd name="T3" fmla="*/ 0 h 10"/>
                <a:gd name="T4" fmla="*/ 10 w 29"/>
                <a:gd name="T5" fmla="*/ 6 h 10"/>
                <a:gd name="T6" fmla="*/ 29 w 29"/>
                <a:gd name="T7" fmla="*/ 10 h 10"/>
                <a:gd name="T8" fmla="*/ 0 w 2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0">
                  <a:moveTo>
                    <a:pt x="0" y="0"/>
                  </a:moveTo>
                  <a:lnTo>
                    <a:pt x="0" y="0"/>
                  </a:lnTo>
                  <a:lnTo>
                    <a:pt x="10" y="6"/>
                  </a:lnTo>
                  <a:lnTo>
                    <a:pt x="29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220">
              <a:extLst>
                <a:ext uri="{FF2B5EF4-FFF2-40B4-BE49-F238E27FC236}">
                  <a16:creationId xmlns:a16="http://schemas.microsoft.com/office/drawing/2014/main" id="{B7B35814-7801-438C-845A-33AFB2501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4" y="1050"/>
              <a:ext cx="1" cy="2"/>
            </a:xfrm>
            <a:custGeom>
              <a:avLst/>
              <a:gdLst>
                <a:gd name="T0" fmla="*/ 0 w 6"/>
                <a:gd name="T1" fmla="*/ 1 h 13"/>
                <a:gd name="T2" fmla="*/ 0 w 6"/>
                <a:gd name="T3" fmla="*/ 1 h 13"/>
                <a:gd name="T4" fmla="*/ 2 w 6"/>
                <a:gd name="T5" fmla="*/ 13 h 13"/>
                <a:gd name="T6" fmla="*/ 0 w 6"/>
                <a:gd name="T7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3">
                  <a:moveTo>
                    <a:pt x="0" y="1"/>
                  </a:moveTo>
                  <a:lnTo>
                    <a:pt x="0" y="1"/>
                  </a:lnTo>
                  <a:cubicBezTo>
                    <a:pt x="2" y="4"/>
                    <a:pt x="2" y="9"/>
                    <a:pt x="2" y="13"/>
                  </a:cubicBezTo>
                  <a:cubicBezTo>
                    <a:pt x="4" y="6"/>
                    <a:pt x="6" y="0"/>
                    <a:pt x="0" y="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221">
              <a:extLst>
                <a:ext uri="{FF2B5EF4-FFF2-40B4-BE49-F238E27FC236}">
                  <a16:creationId xmlns:a16="http://schemas.microsoft.com/office/drawing/2014/main" id="{244C01A6-9B5F-4855-BEA1-E6A66D8234F0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5" y="1052"/>
              <a:ext cx="0" cy="1"/>
            </a:xfrm>
            <a:custGeom>
              <a:avLst/>
              <a:gdLst>
                <a:gd name="T0" fmla="*/ 0 w 1"/>
                <a:gd name="T1" fmla="*/ 3 h 3"/>
                <a:gd name="T2" fmla="*/ 0 w 1"/>
                <a:gd name="T3" fmla="*/ 3 h 3"/>
                <a:gd name="T4" fmla="*/ 1 w 1"/>
                <a:gd name="T5" fmla="*/ 0 h 3"/>
                <a:gd name="T6" fmla="*/ 0 w 1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cubicBezTo>
                    <a:pt x="0" y="2"/>
                    <a:pt x="1" y="1"/>
                    <a:pt x="1" y="0"/>
                  </a:cubicBezTo>
                  <a:cubicBezTo>
                    <a:pt x="1" y="1"/>
                    <a:pt x="0" y="2"/>
                    <a:pt x="0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222">
              <a:extLst>
                <a:ext uri="{FF2B5EF4-FFF2-40B4-BE49-F238E27FC236}">
                  <a16:creationId xmlns:a16="http://schemas.microsoft.com/office/drawing/2014/main" id="{EBA33725-6307-4405-AF6F-650CE35A490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" y="1053"/>
              <a:ext cx="2" cy="1"/>
            </a:xfrm>
            <a:custGeom>
              <a:avLst/>
              <a:gdLst>
                <a:gd name="T0" fmla="*/ 0 w 10"/>
                <a:gd name="T1" fmla="*/ 0 h 9"/>
                <a:gd name="T2" fmla="*/ 0 w 10"/>
                <a:gd name="T3" fmla="*/ 0 h 9"/>
                <a:gd name="T4" fmla="*/ 8 w 10"/>
                <a:gd name="T5" fmla="*/ 9 h 9"/>
                <a:gd name="T6" fmla="*/ 10 w 10"/>
                <a:gd name="T7" fmla="*/ 0 h 9"/>
                <a:gd name="T8" fmla="*/ 0 w 10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0" y="0"/>
                  </a:moveTo>
                  <a:lnTo>
                    <a:pt x="0" y="0"/>
                  </a:lnTo>
                  <a:lnTo>
                    <a:pt x="8" y="9"/>
                  </a:lnTo>
                  <a:cubicBezTo>
                    <a:pt x="8" y="7"/>
                    <a:pt x="9" y="3"/>
                    <a:pt x="10" y="0"/>
                  </a:cubicBezTo>
                  <a:cubicBezTo>
                    <a:pt x="8" y="3"/>
                    <a:pt x="5" y="4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223">
              <a:extLst>
                <a:ext uri="{FF2B5EF4-FFF2-40B4-BE49-F238E27FC236}">
                  <a16:creationId xmlns:a16="http://schemas.microsoft.com/office/drawing/2014/main" id="{F1749D4F-CD8B-47A3-9116-51CF5A795C42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1" y="1043"/>
              <a:ext cx="9" cy="8"/>
            </a:xfrm>
            <a:custGeom>
              <a:avLst/>
              <a:gdLst>
                <a:gd name="T0" fmla="*/ 42 w 45"/>
                <a:gd name="T1" fmla="*/ 14 h 41"/>
                <a:gd name="T2" fmla="*/ 42 w 45"/>
                <a:gd name="T3" fmla="*/ 14 h 41"/>
                <a:gd name="T4" fmla="*/ 3 w 45"/>
                <a:gd name="T5" fmla="*/ 6 h 41"/>
                <a:gd name="T6" fmla="*/ 45 w 45"/>
                <a:gd name="T7" fmla="*/ 41 h 41"/>
                <a:gd name="T8" fmla="*/ 42 w 45"/>
                <a:gd name="T9" fmla="*/ 1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1">
                  <a:moveTo>
                    <a:pt x="42" y="14"/>
                  </a:moveTo>
                  <a:lnTo>
                    <a:pt x="42" y="14"/>
                  </a:lnTo>
                  <a:lnTo>
                    <a:pt x="3" y="6"/>
                  </a:lnTo>
                  <a:cubicBezTo>
                    <a:pt x="0" y="34"/>
                    <a:pt x="33" y="0"/>
                    <a:pt x="45" y="41"/>
                  </a:cubicBezTo>
                  <a:lnTo>
                    <a:pt x="42" y="1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224">
              <a:extLst>
                <a:ext uri="{FF2B5EF4-FFF2-40B4-BE49-F238E27FC236}">
                  <a16:creationId xmlns:a16="http://schemas.microsoft.com/office/drawing/2014/main" id="{FC552F24-5A76-403F-9FEC-7A554343413E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9" y="1007"/>
              <a:ext cx="20" cy="27"/>
            </a:xfrm>
            <a:custGeom>
              <a:avLst/>
              <a:gdLst>
                <a:gd name="T0" fmla="*/ 44 w 106"/>
                <a:gd name="T1" fmla="*/ 141 h 141"/>
                <a:gd name="T2" fmla="*/ 44 w 106"/>
                <a:gd name="T3" fmla="*/ 141 h 141"/>
                <a:gd name="T4" fmla="*/ 84 w 106"/>
                <a:gd name="T5" fmla="*/ 94 h 141"/>
                <a:gd name="T6" fmla="*/ 57 w 106"/>
                <a:gd name="T7" fmla="*/ 0 h 141"/>
                <a:gd name="T8" fmla="*/ 40 w 106"/>
                <a:gd name="T9" fmla="*/ 101 h 141"/>
                <a:gd name="T10" fmla="*/ 44 w 106"/>
                <a:gd name="T11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" h="141">
                  <a:moveTo>
                    <a:pt x="44" y="141"/>
                  </a:moveTo>
                  <a:lnTo>
                    <a:pt x="44" y="141"/>
                  </a:lnTo>
                  <a:cubicBezTo>
                    <a:pt x="66" y="133"/>
                    <a:pt x="46" y="75"/>
                    <a:pt x="84" y="94"/>
                  </a:cubicBezTo>
                  <a:cubicBezTo>
                    <a:pt x="106" y="37"/>
                    <a:pt x="25" y="58"/>
                    <a:pt x="57" y="0"/>
                  </a:cubicBezTo>
                  <a:cubicBezTo>
                    <a:pt x="0" y="31"/>
                    <a:pt x="94" y="76"/>
                    <a:pt x="40" y="101"/>
                  </a:cubicBezTo>
                  <a:cubicBezTo>
                    <a:pt x="77" y="98"/>
                    <a:pt x="43" y="127"/>
                    <a:pt x="44" y="1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225">
              <a:extLst>
                <a:ext uri="{FF2B5EF4-FFF2-40B4-BE49-F238E27FC236}">
                  <a16:creationId xmlns:a16="http://schemas.microsoft.com/office/drawing/2014/main" id="{6B10D34C-532E-4A56-A3C0-EBD474AE335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5" y="1022"/>
              <a:ext cx="8" cy="8"/>
            </a:xfrm>
            <a:custGeom>
              <a:avLst/>
              <a:gdLst>
                <a:gd name="T0" fmla="*/ 9 w 41"/>
                <a:gd name="T1" fmla="*/ 22 h 39"/>
                <a:gd name="T2" fmla="*/ 9 w 41"/>
                <a:gd name="T3" fmla="*/ 22 h 39"/>
                <a:gd name="T4" fmla="*/ 36 w 41"/>
                <a:gd name="T5" fmla="*/ 6 h 39"/>
                <a:gd name="T6" fmla="*/ 9 w 41"/>
                <a:gd name="T7" fmla="*/ 2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39">
                  <a:moveTo>
                    <a:pt x="9" y="22"/>
                  </a:moveTo>
                  <a:lnTo>
                    <a:pt x="9" y="22"/>
                  </a:lnTo>
                  <a:cubicBezTo>
                    <a:pt x="22" y="39"/>
                    <a:pt x="41" y="21"/>
                    <a:pt x="36" y="6"/>
                  </a:cubicBezTo>
                  <a:cubicBezTo>
                    <a:pt x="29" y="10"/>
                    <a:pt x="0" y="0"/>
                    <a:pt x="9" y="2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226">
              <a:extLst>
                <a:ext uri="{FF2B5EF4-FFF2-40B4-BE49-F238E27FC236}">
                  <a16:creationId xmlns:a16="http://schemas.microsoft.com/office/drawing/2014/main" id="{0EBBCDA8-6570-4A64-8494-302131CA9103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9" y="1013"/>
              <a:ext cx="5" cy="3"/>
            </a:xfrm>
            <a:custGeom>
              <a:avLst/>
              <a:gdLst>
                <a:gd name="T0" fmla="*/ 0 w 24"/>
                <a:gd name="T1" fmla="*/ 15 h 15"/>
                <a:gd name="T2" fmla="*/ 0 w 24"/>
                <a:gd name="T3" fmla="*/ 15 h 15"/>
                <a:gd name="T4" fmla="*/ 24 w 24"/>
                <a:gd name="T5" fmla="*/ 12 h 15"/>
                <a:gd name="T6" fmla="*/ 17 w 24"/>
                <a:gd name="T7" fmla="*/ 0 h 15"/>
                <a:gd name="T8" fmla="*/ 0 w 24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5">
                  <a:moveTo>
                    <a:pt x="0" y="15"/>
                  </a:moveTo>
                  <a:lnTo>
                    <a:pt x="0" y="15"/>
                  </a:lnTo>
                  <a:lnTo>
                    <a:pt x="24" y="12"/>
                  </a:lnTo>
                  <a:lnTo>
                    <a:pt x="17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227">
              <a:extLst>
                <a:ext uri="{FF2B5EF4-FFF2-40B4-BE49-F238E27FC236}">
                  <a16:creationId xmlns:a16="http://schemas.microsoft.com/office/drawing/2014/main" id="{9D27944A-EDB1-4A29-B471-25BFF0EAA7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9" y="1008"/>
              <a:ext cx="4" cy="5"/>
            </a:xfrm>
            <a:custGeom>
              <a:avLst/>
              <a:gdLst>
                <a:gd name="T0" fmla="*/ 0 w 22"/>
                <a:gd name="T1" fmla="*/ 0 h 29"/>
                <a:gd name="T2" fmla="*/ 0 w 22"/>
                <a:gd name="T3" fmla="*/ 0 h 29"/>
                <a:gd name="T4" fmla="*/ 6 w 22"/>
                <a:gd name="T5" fmla="*/ 29 h 29"/>
                <a:gd name="T6" fmla="*/ 0 w 22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9">
                  <a:moveTo>
                    <a:pt x="0" y="0"/>
                  </a:moveTo>
                  <a:lnTo>
                    <a:pt x="0" y="0"/>
                  </a:lnTo>
                  <a:lnTo>
                    <a:pt x="6" y="29"/>
                  </a:lnTo>
                  <a:cubicBezTo>
                    <a:pt x="3" y="19"/>
                    <a:pt x="22" y="1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228">
              <a:extLst>
                <a:ext uri="{FF2B5EF4-FFF2-40B4-BE49-F238E27FC236}">
                  <a16:creationId xmlns:a16="http://schemas.microsoft.com/office/drawing/2014/main" id="{B977917D-6A96-4AC8-9E22-5A5E53ABFF5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0" y="987"/>
              <a:ext cx="8" cy="11"/>
            </a:xfrm>
            <a:custGeom>
              <a:avLst/>
              <a:gdLst>
                <a:gd name="T0" fmla="*/ 28 w 45"/>
                <a:gd name="T1" fmla="*/ 55 h 55"/>
                <a:gd name="T2" fmla="*/ 28 w 45"/>
                <a:gd name="T3" fmla="*/ 55 h 55"/>
                <a:gd name="T4" fmla="*/ 0 w 45"/>
                <a:gd name="T5" fmla="*/ 35 h 55"/>
                <a:gd name="T6" fmla="*/ 7 w 45"/>
                <a:gd name="T7" fmla="*/ 30 h 55"/>
                <a:gd name="T8" fmla="*/ 28 w 45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5">
                  <a:moveTo>
                    <a:pt x="28" y="55"/>
                  </a:moveTo>
                  <a:lnTo>
                    <a:pt x="28" y="55"/>
                  </a:lnTo>
                  <a:cubicBezTo>
                    <a:pt x="45" y="47"/>
                    <a:pt x="14" y="0"/>
                    <a:pt x="0" y="35"/>
                  </a:cubicBezTo>
                  <a:lnTo>
                    <a:pt x="7" y="30"/>
                  </a:lnTo>
                  <a:cubicBezTo>
                    <a:pt x="12" y="37"/>
                    <a:pt x="39" y="35"/>
                    <a:pt x="28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229">
              <a:extLst>
                <a:ext uri="{FF2B5EF4-FFF2-40B4-BE49-F238E27FC236}">
                  <a16:creationId xmlns:a16="http://schemas.microsoft.com/office/drawing/2014/main" id="{5CA65195-7DF5-43EE-AABE-D52C9299A6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7" y="952"/>
              <a:ext cx="4" cy="7"/>
            </a:xfrm>
            <a:custGeom>
              <a:avLst/>
              <a:gdLst>
                <a:gd name="T0" fmla="*/ 11 w 21"/>
                <a:gd name="T1" fmla="*/ 4 h 33"/>
                <a:gd name="T2" fmla="*/ 11 w 21"/>
                <a:gd name="T3" fmla="*/ 4 h 33"/>
                <a:gd name="T4" fmla="*/ 11 w 21"/>
                <a:gd name="T5" fmla="*/ 33 h 33"/>
                <a:gd name="T6" fmla="*/ 16 w 21"/>
                <a:gd name="T7" fmla="*/ 17 h 33"/>
                <a:gd name="T8" fmla="*/ 21 w 21"/>
                <a:gd name="T9" fmla="*/ 0 h 33"/>
                <a:gd name="T10" fmla="*/ 11 w 21"/>
                <a:gd name="T11" fmla="*/ 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33">
                  <a:moveTo>
                    <a:pt x="11" y="4"/>
                  </a:moveTo>
                  <a:lnTo>
                    <a:pt x="11" y="4"/>
                  </a:lnTo>
                  <a:cubicBezTo>
                    <a:pt x="3" y="14"/>
                    <a:pt x="0" y="29"/>
                    <a:pt x="11" y="33"/>
                  </a:cubicBezTo>
                  <a:cubicBezTo>
                    <a:pt x="11" y="33"/>
                    <a:pt x="13" y="25"/>
                    <a:pt x="16" y="17"/>
                  </a:cubicBezTo>
                  <a:cubicBezTo>
                    <a:pt x="18" y="8"/>
                    <a:pt x="21" y="0"/>
                    <a:pt x="21" y="0"/>
                  </a:cubicBezTo>
                  <a:lnTo>
                    <a:pt x="11" y="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230">
              <a:extLst>
                <a:ext uri="{FF2B5EF4-FFF2-40B4-BE49-F238E27FC236}">
                  <a16:creationId xmlns:a16="http://schemas.microsoft.com/office/drawing/2014/main" id="{4924B9ED-7BD6-43CE-9EF4-BA5E7166025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2" y="938"/>
              <a:ext cx="6" cy="8"/>
            </a:xfrm>
            <a:custGeom>
              <a:avLst/>
              <a:gdLst>
                <a:gd name="T0" fmla="*/ 35 w 35"/>
                <a:gd name="T1" fmla="*/ 11 h 45"/>
                <a:gd name="T2" fmla="*/ 35 w 35"/>
                <a:gd name="T3" fmla="*/ 11 h 45"/>
                <a:gd name="T4" fmla="*/ 0 w 35"/>
                <a:gd name="T5" fmla="*/ 45 h 45"/>
                <a:gd name="T6" fmla="*/ 35 w 35"/>
                <a:gd name="T7" fmla="*/ 1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45">
                  <a:moveTo>
                    <a:pt x="35" y="11"/>
                  </a:moveTo>
                  <a:lnTo>
                    <a:pt x="35" y="11"/>
                  </a:lnTo>
                  <a:cubicBezTo>
                    <a:pt x="2" y="0"/>
                    <a:pt x="21" y="35"/>
                    <a:pt x="0" y="45"/>
                  </a:cubicBezTo>
                  <a:cubicBezTo>
                    <a:pt x="19" y="31"/>
                    <a:pt x="21" y="35"/>
                    <a:pt x="35" y="1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231">
              <a:extLst>
                <a:ext uri="{FF2B5EF4-FFF2-40B4-BE49-F238E27FC236}">
                  <a16:creationId xmlns:a16="http://schemas.microsoft.com/office/drawing/2014/main" id="{6407D958-2C8C-4CFE-9B58-D70ED56609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8" y="952"/>
              <a:ext cx="5" cy="7"/>
            </a:xfrm>
            <a:custGeom>
              <a:avLst/>
              <a:gdLst>
                <a:gd name="T0" fmla="*/ 15 w 27"/>
                <a:gd name="T1" fmla="*/ 0 h 36"/>
                <a:gd name="T2" fmla="*/ 15 w 27"/>
                <a:gd name="T3" fmla="*/ 0 h 36"/>
                <a:gd name="T4" fmla="*/ 0 w 27"/>
                <a:gd name="T5" fmla="*/ 29 h 36"/>
                <a:gd name="T6" fmla="*/ 15 w 27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36">
                  <a:moveTo>
                    <a:pt x="15" y="0"/>
                  </a:moveTo>
                  <a:lnTo>
                    <a:pt x="15" y="0"/>
                  </a:lnTo>
                  <a:cubicBezTo>
                    <a:pt x="22" y="16"/>
                    <a:pt x="6" y="23"/>
                    <a:pt x="0" y="29"/>
                  </a:cubicBezTo>
                  <a:cubicBezTo>
                    <a:pt x="17" y="36"/>
                    <a:pt x="27" y="13"/>
                    <a:pt x="1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232">
              <a:extLst>
                <a:ext uri="{FF2B5EF4-FFF2-40B4-BE49-F238E27FC236}">
                  <a16:creationId xmlns:a16="http://schemas.microsoft.com/office/drawing/2014/main" id="{0B553208-C0F8-4FA5-A8A7-D47ED71A87E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0" y="927"/>
              <a:ext cx="17" cy="26"/>
            </a:xfrm>
            <a:custGeom>
              <a:avLst/>
              <a:gdLst>
                <a:gd name="T0" fmla="*/ 24 w 88"/>
                <a:gd name="T1" fmla="*/ 79 h 138"/>
                <a:gd name="T2" fmla="*/ 24 w 88"/>
                <a:gd name="T3" fmla="*/ 79 h 138"/>
                <a:gd name="T4" fmla="*/ 51 w 88"/>
                <a:gd name="T5" fmla="*/ 88 h 138"/>
                <a:gd name="T6" fmla="*/ 79 w 88"/>
                <a:gd name="T7" fmla="*/ 28 h 138"/>
                <a:gd name="T8" fmla="*/ 15 w 88"/>
                <a:gd name="T9" fmla="*/ 0 h 138"/>
                <a:gd name="T10" fmla="*/ 0 w 88"/>
                <a:gd name="T11" fmla="*/ 79 h 138"/>
                <a:gd name="T12" fmla="*/ 16 w 88"/>
                <a:gd name="T13" fmla="*/ 108 h 138"/>
                <a:gd name="T14" fmla="*/ 31 w 88"/>
                <a:gd name="T15" fmla="*/ 138 h 138"/>
                <a:gd name="T16" fmla="*/ 24 w 88"/>
                <a:gd name="T17" fmla="*/ 79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138">
                  <a:moveTo>
                    <a:pt x="24" y="79"/>
                  </a:moveTo>
                  <a:lnTo>
                    <a:pt x="24" y="79"/>
                  </a:lnTo>
                  <a:cubicBezTo>
                    <a:pt x="42" y="76"/>
                    <a:pt x="39" y="91"/>
                    <a:pt x="51" y="88"/>
                  </a:cubicBezTo>
                  <a:cubicBezTo>
                    <a:pt x="77" y="74"/>
                    <a:pt x="88" y="49"/>
                    <a:pt x="79" y="28"/>
                  </a:cubicBezTo>
                  <a:cubicBezTo>
                    <a:pt x="63" y="27"/>
                    <a:pt x="25" y="17"/>
                    <a:pt x="15" y="0"/>
                  </a:cubicBezTo>
                  <a:cubicBezTo>
                    <a:pt x="8" y="39"/>
                    <a:pt x="50" y="88"/>
                    <a:pt x="0" y="79"/>
                  </a:cubicBezTo>
                  <a:cubicBezTo>
                    <a:pt x="0" y="79"/>
                    <a:pt x="8" y="94"/>
                    <a:pt x="16" y="108"/>
                  </a:cubicBezTo>
                  <a:cubicBezTo>
                    <a:pt x="23" y="123"/>
                    <a:pt x="31" y="138"/>
                    <a:pt x="31" y="138"/>
                  </a:cubicBezTo>
                  <a:cubicBezTo>
                    <a:pt x="56" y="116"/>
                    <a:pt x="10" y="96"/>
                    <a:pt x="24" y="7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233">
              <a:extLst>
                <a:ext uri="{FF2B5EF4-FFF2-40B4-BE49-F238E27FC236}">
                  <a16:creationId xmlns:a16="http://schemas.microsoft.com/office/drawing/2014/main" id="{C01230D4-B15B-4E0C-87FF-B81818E51C3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5" y="932"/>
              <a:ext cx="10" cy="11"/>
            </a:xfrm>
            <a:custGeom>
              <a:avLst/>
              <a:gdLst>
                <a:gd name="T0" fmla="*/ 24 w 51"/>
                <a:gd name="T1" fmla="*/ 57 h 57"/>
                <a:gd name="T2" fmla="*/ 24 w 51"/>
                <a:gd name="T3" fmla="*/ 57 h 57"/>
                <a:gd name="T4" fmla="*/ 38 w 51"/>
                <a:gd name="T5" fmla="*/ 54 h 57"/>
                <a:gd name="T6" fmla="*/ 51 w 51"/>
                <a:gd name="T7" fmla="*/ 51 h 57"/>
                <a:gd name="T8" fmla="*/ 39 w 51"/>
                <a:gd name="T9" fmla="*/ 19 h 57"/>
                <a:gd name="T10" fmla="*/ 24 w 51"/>
                <a:gd name="T11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57">
                  <a:moveTo>
                    <a:pt x="24" y="57"/>
                  </a:moveTo>
                  <a:lnTo>
                    <a:pt x="24" y="57"/>
                  </a:lnTo>
                  <a:cubicBezTo>
                    <a:pt x="24" y="57"/>
                    <a:pt x="31" y="55"/>
                    <a:pt x="38" y="54"/>
                  </a:cubicBezTo>
                  <a:cubicBezTo>
                    <a:pt x="44" y="53"/>
                    <a:pt x="51" y="51"/>
                    <a:pt x="51" y="51"/>
                  </a:cubicBezTo>
                  <a:cubicBezTo>
                    <a:pt x="33" y="44"/>
                    <a:pt x="38" y="30"/>
                    <a:pt x="39" y="19"/>
                  </a:cubicBezTo>
                  <a:cubicBezTo>
                    <a:pt x="0" y="0"/>
                    <a:pt x="29" y="46"/>
                    <a:pt x="24" y="5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234">
              <a:extLst>
                <a:ext uri="{FF2B5EF4-FFF2-40B4-BE49-F238E27FC236}">
                  <a16:creationId xmlns:a16="http://schemas.microsoft.com/office/drawing/2014/main" id="{D4498D99-4364-4C72-B189-EDECB21338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8" y="894"/>
              <a:ext cx="2" cy="8"/>
            </a:xfrm>
            <a:custGeom>
              <a:avLst/>
              <a:gdLst>
                <a:gd name="T0" fmla="*/ 2 w 7"/>
                <a:gd name="T1" fmla="*/ 46 h 46"/>
                <a:gd name="T2" fmla="*/ 2 w 7"/>
                <a:gd name="T3" fmla="*/ 46 h 46"/>
                <a:gd name="T4" fmla="*/ 4 w 7"/>
                <a:gd name="T5" fmla="*/ 23 h 46"/>
                <a:gd name="T6" fmla="*/ 7 w 7"/>
                <a:gd name="T7" fmla="*/ 0 h 46"/>
                <a:gd name="T8" fmla="*/ 0 w 7"/>
                <a:gd name="T9" fmla="*/ 13 h 46"/>
                <a:gd name="T10" fmla="*/ 1 w 7"/>
                <a:gd name="T11" fmla="*/ 29 h 46"/>
                <a:gd name="T12" fmla="*/ 2 w 7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46">
                  <a:moveTo>
                    <a:pt x="2" y="46"/>
                  </a:moveTo>
                  <a:lnTo>
                    <a:pt x="2" y="46"/>
                  </a:lnTo>
                  <a:cubicBezTo>
                    <a:pt x="2" y="46"/>
                    <a:pt x="3" y="34"/>
                    <a:pt x="4" y="23"/>
                  </a:cubicBezTo>
                  <a:cubicBezTo>
                    <a:pt x="6" y="11"/>
                    <a:pt x="7" y="0"/>
                    <a:pt x="7" y="0"/>
                  </a:cubicBezTo>
                  <a:lnTo>
                    <a:pt x="0" y="13"/>
                  </a:lnTo>
                  <a:cubicBezTo>
                    <a:pt x="0" y="13"/>
                    <a:pt x="0" y="21"/>
                    <a:pt x="1" y="29"/>
                  </a:cubicBezTo>
                  <a:cubicBezTo>
                    <a:pt x="1" y="37"/>
                    <a:pt x="2" y="46"/>
                    <a:pt x="2" y="4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235">
              <a:extLst>
                <a:ext uri="{FF2B5EF4-FFF2-40B4-BE49-F238E27FC236}">
                  <a16:creationId xmlns:a16="http://schemas.microsoft.com/office/drawing/2014/main" id="{BAEB71EB-39C1-41BE-A153-B1BA6E5862CF}"/>
                </a:ext>
              </a:extLst>
            </p:cNvPr>
            <p:cNvSpPr>
              <a:spLocks/>
            </p:cNvSpPr>
            <p:nvPr/>
          </p:nvSpPr>
          <p:spPr bwMode="gray">
            <a:xfrm>
              <a:off x="2223" y="891"/>
              <a:ext cx="2" cy="7"/>
            </a:xfrm>
            <a:custGeom>
              <a:avLst/>
              <a:gdLst>
                <a:gd name="T0" fmla="*/ 0 w 12"/>
                <a:gd name="T1" fmla="*/ 38 h 40"/>
                <a:gd name="T2" fmla="*/ 0 w 12"/>
                <a:gd name="T3" fmla="*/ 38 h 40"/>
                <a:gd name="T4" fmla="*/ 12 w 12"/>
                <a:gd name="T5" fmla="*/ 40 h 40"/>
                <a:gd name="T6" fmla="*/ 7 w 12"/>
                <a:gd name="T7" fmla="*/ 20 h 40"/>
                <a:gd name="T8" fmla="*/ 1 w 12"/>
                <a:gd name="T9" fmla="*/ 0 h 40"/>
                <a:gd name="T10" fmla="*/ 1 w 12"/>
                <a:gd name="T11" fmla="*/ 19 h 40"/>
                <a:gd name="T12" fmla="*/ 0 w 12"/>
                <a:gd name="T13" fmla="*/ 3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0">
                  <a:moveTo>
                    <a:pt x="0" y="38"/>
                  </a:moveTo>
                  <a:lnTo>
                    <a:pt x="0" y="38"/>
                  </a:lnTo>
                  <a:lnTo>
                    <a:pt x="12" y="40"/>
                  </a:lnTo>
                  <a:cubicBezTo>
                    <a:pt x="12" y="40"/>
                    <a:pt x="9" y="30"/>
                    <a:pt x="7" y="20"/>
                  </a:cubicBezTo>
                  <a:cubicBezTo>
                    <a:pt x="4" y="10"/>
                    <a:pt x="1" y="0"/>
                    <a:pt x="1" y="0"/>
                  </a:cubicBezTo>
                  <a:cubicBezTo>
                    <a:pt x="1" y="0"/>
                    <a:pt x="1" y="10"/>
                    <a:pt x="1" y="19"/>
                  </a:cubicBezTo>
                  <a:cubicBezTo>
                    <a:pt x="0" y="28"/>
                    <a:pt x="0" y="38"/>
                    <a:pt x="0" y="3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236">
              <a:extLst>
                <a:ext uri="{FF2B5EF4-FFF2-40B4-BE49-F238E27FC236}">
                  <a16:creationId xmlns:a16="http://schemas.microsoft.com/office/drawing/2014/main" id="{F04BCAAB-1B53-4FB0-AF74-625CEC1AB3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27" y="890"/>
              <a:ext cx="1" cy="6"/>
            </a:xfrm>
            <a:custGeom>
              <a:avLst/>
              <a:gdLst>
                <a:gd name="T0" fmla="*/ 4 w 4"/>
                <a:gd name="T1" fmla="*/ 0 h 34"/>
                <a:gd name="T2" fmla="*/ 4 w 4"/>
                <a:gd name="T3" fmla="*/ 0 h 34"/>
                <a:gd name="T4" fmla="*/ 0 w 4"/>
                <a:gd name="T5" fmla="*/ 5 h 34"/>
                <a:gd name="T6" fmla="*/ 2 w 4"/>
                <a:gd name="T7" fmla="*/ 19 h 34"/>
                <a:gd name="T8" fmla="*/ 3 w 4"/>
                <a:gd name="T9" fmla="*/ 34 h 34"/>
                <a:gd name="T10" fmla="*/ 3 w 4"/>
                <a:gd name="T11" fmla="*/ 17 h 34"/>
                <a:gd name="T12" fmla="*/ 4 w 4"/>
                <a:gd name="T13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34">
                  <a:moveTo>
                    <a:pt x="4" y="0"/>
                  </a:moveTo>
                  <a:lnTo>
                    <a:pt x="4" y="0"/>
                  </a:lnTo>
                  <a:lnTo>
                    <a:pt x="0" y="5"/>
                  </a:lnTo>
                  <a:cubicBezTo>
                    <a:pt x="0" y="5"/>
                    <a:pt x="1" y="12"/>
                    <a:pt x="2" y="19"/>
                  </a:cubicBezTo>
                  <a:cubicBezTo>
                    <a:pt x="2" y="27"/>
                    <a:pt x="3" y="34"/>
                    <a:pt x="3" y="34"/>
                  </a:cubicBezTo>
                  <a:cubicBezTo>
                    <a:pt x="3" y="34"/>
                    <a:pt x="3" y="25"/>
                    <a:pt x="3" y="17"/>
                  </a:cubicBezTo>
                  <a:cubicBezTo>
                    <a:pt x="3" y="9"/>
                    <a:pt x="4" y="0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237">
              <a:extLst>
                <a:ext uri="{FF2B5EF4-FFF2-40B4-BE49-F238E27FC236}">
                  <a16:creationId xmlns:a16="http://schemas.microsoft.com/office/drawing/2014/main" id="{F37238E2-BDE6-4F5F-B29E-9BFF42075B1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26" y="873"/>
              <a:ext cx="8" cy="7"/>
            </a:xfrm>
            <a:custGeom>
              <a:avLst/>
              <a:gdLst>
                <a:gd name="T0" fmla="*/ 41 w 41"/>
                <a:gd name="T1" fmla="*/ 0 h 38"/>
                <a:gd name="T2" fmla="*/ 41 w 41"/>
                <a:gd name="T3" fmla="*/ 0 h 38"/>
                <a:gd name="T4" fmla="*/ 22 w 41"/>
                <a:gd name="T5" fmla="*/ 4 h 38"/>
                <a:gd name="T6" fmla="*/ 24 w 41"/>
                <a:gd name="T7" fmla="*/ 38 h 38"/>
                <a:gd name="T8" fmla="*/ 41 w 41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8">
                  <a:moveTo>
                    <a:pt x="41" y="0"/>
                  </a:moveTo>
                  <a:lnTo>
                    <a:pt x="41" y="0"/>
                  </a:lnTo>
                  <a:lnTo>
                    <a:pt x="22" y="4"/>
                  </a:lnTo>
                  <a:cubicBezTo>
                    <a:pt x="24" y="17"/>
                    <a:pt x="0" y="34"/>
                    <a:pt x="24" y="38"/>
                  </a:cubicBezTo>
                  <a:cubicBezTo>
                    <a:pt x="18" y="26"/>
                    <a:pt x="26" y="4"/>
                    <a:pt x="4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238">
              <a:extLst>
                <a:ext uri="{FF2B5EF4-FFF2-40B4-BE49-F238E27FC236}">
                  <a16:creationId xmlns:a16="http://schemas.microsoft.com/office/drawing/2014/main" id="{59F35E75-E9A4-47B8-8116-0F31EA181107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3" y="813"/>
              <a:ext cx="7" cy="4"/>
            </a:xfrm>
            <a:custGeom>
              <a:avLst/>
              <a:gdLst>
                <a:gd name="T0" fmla="*/ 0 w 33"/>
                <a:gd name="T1" fmla="*/ 11 h 17"/>
                <a:gd name="T2" fmla="*/ 0 w 33"/>
                <a:gd name="T3" fmla="*/ 11 h 17"/>
                <a:gd name="T4" fmla="*/ 33 w 33"/>
                <a:gd name="T5" fmla="*/ 10 h 17"/>
                <a:gd name="T6" fmla="*/ 3 w 33"/>
                <a:gd name="T7" fmla="*/ 0 h 17"/>
                <a:gd name="T8" fmla="*/ 0 w 33"/>
                <a:gd name="T9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0" y="11"/>
                  </a:moveTo>
                  <a:lnTo>
                    <a:pt x="0" y="11"/>
                  </a:lnTo>
                  <a:cubicBezTo>
                    <a:pt x="12" y="17"/>
                    <a:pt x="22" y="14"/>
                    <a:pt x="33" y="10"/>
                  </a:cubicBezTo>
                  <a:lnTo>
                    <a:pt x="3" y="0"/>
                  </a:lnTo>
                  <a:cubicBezTo>
                    <a:pt x="4" y="3"/>
                    <a:pt x="7" y="9"/>
                    <a:pt x="0" y="1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239">
              <a:extLst>
                <a:ext uri="{FF2B5EF4-FFF2-40B4-BE49-F238E27FC236}">
                  <a16:creationId xmlns:a16="http://schemas.microsoft.com/office/drawing/2014/main" id="{6DC324C4-B9FE-4B01-B6E9-C675F40B4397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5" y="803"/>
              <a:ext cx="8" cy="11"/>
            </a:xfrm>
            <a:custGeom>
              <a:avLst/>
              <a:gdLst>
                <a:gd name="T0" fmla="*/ 40 w 44"/>
                <a:gd name="T1" fmla="*/ 24 h 58"/>
                <a:gd name="T2" fmla="*/ 40 w 44"/>
                <a:gd name="T3" fmla="*/ 24 h 58"/>
                <a:gd name="T4" fmla="*/ 5 w 44"/>
                <a:gd name="T5" fmla="*/ 0 h 58"/>
                <a:gd name="T6" fmla="*/ 33 w 44"/>
                <a:gd name="T7" fmla="*/ 58 h 58"/>
                <a:gd name="T8" fmla="*/ 28 w 44"/>
                <a:gd name="T9" fmla="*/ 19 h 58"/>
                <a:gd name="T10" fmla="*/ 40 w 44"/>
                <a:gd name="T11" fmla="*/ 2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58">
                  <a:moveTo>
                    <a:pt x="40" y="24"/>
                  </a:moveTo>
                  <a:lnTo>
                    <a:pt x="40" y="24"/>
                  </a:lnTo>
                  <a:lnTo>
                    <a:pt x="5" y="0"/>
                  </a:lnTo>
                  <a:cubicBezTo>
                    <a:pt x="0" y="29"/>
                    <a:pt x="28" y="32"/>
                    <a:pt x="33" y="58"/>
                  </a:cubicBezTo>
                  <a:cubicBezTo>
                    <a:pt x="44" y="47"/>
                    <a:pt x="19" y="32"/>
                    <a:pt x="28" y="19"/>
                  </a:cubicBezTo>
                  <a:lnTo>
                    <a:pt x="40" y="2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240">
              <a:extLst>
                <a:ext uri="{FF2B5EF4-FFF2-40B4-BE49-F238E27FC236}">
                  <a16:creationId xmlns:a16="http://schemas.microsoft.com/office/drawing/2014/main" id="{0BC9DA63-82DD-4A49-BD58-F2B91386236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3" y="704"/>
              <a:ext cx="16" cy="11"/>
            </a:xfrm>
            <a:custGeom>
              <a:avLst/>
              <a:gdLst>
                <a:gd name="T0" fmla="*/ 45 w 82"/>
                <a:gd name="T1" fmla="*/ 59 h 59"/>
                <a:gd name="T2" fmla="*/ 45 w 82"/>
                <a:gd name="T3" fmla="*/ 59 h 59"/>
                <a:gd name="T4" fmla="*/ 82 w 82"/>
                <a:gd name="T5" fmla="*/ 59 h 59"/>
                <a:gd name="T6" fmla="*/ 59 w 82"/>
                <a:gd name="T7" fmla="*/ 31 h 59"/>
                <a:gd name="T8" fmla="*/ 40 w 82"/>
                <a:gd name="T9" fmla="*/ 0 h 59"/>
                <a:gd name="T10" fmla="*/ 10 w 82"/>
                <a:gd name="T11" fmla="*/ 11 h 59"/>
                <a:gd name="T12" fmla="*/ 22 w 82"/>
                <a:gd name="T13" fmla="*/ 20 h 59"/>
                <a:gd name="T14" fmla="*/ 31 w 82"/>
                <a:gd name="T15" fmla="*/ 27 h 59"/>
                <a:gd name="T16" fmla="*/ 35 w 82"/>
                <a:gd name="T17" fmla="*/ 30 h 59"/>
                <a:gd name="T18" fmla="*/ 19 w 82"/>
                <a:gd name="T19" fmla="*/ 33 h 59"/>
                <a:gd name="T20" fmla="*/ 45 w 82"/>
                <a:gd name="T2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" h="59">
                  <a:moveTo>
                    <a:pt x="45" y="59"/>
                  </a:moveTo>
                  <a:lnTo>
                    <a:pt x="45" y="59"/>
                  </a:lnTo>
                  <a:cubicBezTo>
                    <a:pt x="67" y="52"/>
                    <a:pt x="62" y="48"/>
                    <a:pt x="82" y="59"/>
                  </a:cubicBezTo>
                  <a:cubicBezTo>
                    <a:pt x="71" y="50"/>
                    <a:pt x="64" y="42"/>
                    <a:pt x="59" y="31"/>
                  </a:cubicBezTo>
                  <a:cubicBezTo>
                    <a:pt x="53" y="21"/>
                    <a:pt x="48" y="11"/>
                    <a:pt x="40" y="0"/>
                  </a:cubicBezTo>
                  <a:cubicBezTo>
                    <a:pt x="30" y="10"/>
                    <a:pt x="0" y="5"/>
                    <a:pt x="10" y="11"/>
                  </a:cubicBezTo>
                  <a:cubicBezTo>
                    <a:pt x="10" y="11"/>
                    <a:pt x="16" y="16"/>
                    <a:pt x="22" y="20"/>
                  </a:cubicBezTo>
                  <a:cubicBezTo>
                    <a:pt x="25" y="23"/>
                    <a:pt x="29" y="25"/>
                    <a:pt x="31" y="27"/>
                  </a:cubicBezTo>
                  <a:cubicBezTo>
                    <a:pt x="33" y="28"/>
                    <a:pt x="35" y="30"/>
                    <a:pt x="35" y="30"/>
                  </a:cubicBezTo>
                  <a:lnTo>
                    <a:pt x="19" y="33"/>
                  </a:lnTo>
                  <a:cubicBezTo>
                    <a:pt x="12" y="58"/>
                    <a:pt x="47" y="34"/>
                    <a:pt x="45" y="5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241">
              <a:extLst>
                <a:ext uri="{FF2B5EF4-FFF2-40B4-BE49-F238E27FC236}">
                  <a16:creationId xmlns:a16="http://schemas.microsoft.com/office/drawing/2014/main" id="{F04E3EBC-EAAA-4FFF-837E-5DAC0E6A3AFB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3" y="635"/>
              <a:ext cx="7" cy="5"/>
            </a:xfrm>
            <a:custGeom>
              <a:avLst/>
              <a:gdLst>
                <a:gd name="T0" fmla="*/ 32 w 36"/>
                <a:gd name="T1" fmla="*/ 28 h 28"/>
                <a:gd name="T2" fmla="*/ 32 w 36"/>
                <a:gd name="T3" fmla="*/ 28 h 28"/>
                <a:gd name="T4" fmla="*/ 19 w 36"/>
                <a:gd name="T5" fmla="*/ 0 h 28"/>
                <a:gd name="T6" fmla="*/ 32 w 36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8">
                  <a:moveTo>
                    <a:pt x="32" y="28"/>
                  </a:moveTo>
                  <a:lnTo>
                    <a:pt x="32" y="28"/>
                  </a:lnTo>
                  <a:cubicBezTo>
                    <a:pt x="32" y="17"/>
                    <a:pt x="26" y="8"/>
                    <a:pt x="19" y="0"/>
                  </a:cubicBezTo>
                  <a:cubicBezTo>
                    <a:pt x="0" y="17"/>
                    <a:pt x="36" y="24"/>
                    <a:pt x="32" y="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5" name="Group 244">
            <a:extLst>
              <a:ext uri="{FF2B5EF4-FFF2-40B4-BE49-F238E27FC236}">
                <a16:creationId xmlns:a16="http://schemas.microsoft.com/office/drawing/2014/main" id="{2F793BFD-6F51-4DCA-AA49-BCEED264222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403368" y="2158249"/>
            <a:ext cx="233293" cy="430114"/>
            <a:chOff x="2492" y="581"/>
            <a:chExt cx="371" cy="684"/>
          </a:xfrm>
          <a:solidFill>
            <a:schemeClr val="accent1"/>
          </a:solidFill>
        </p:grpSpPr>
        <p:sp>
          <p:nvSpPr>
            <p:cNvPr id="196" name="Freeform 245">
              <a:extLst>
                <a:ext uri="{FF2B5EF4-FFF2-40B4-BE49-F238E27FC236}">
                  <a16:creationId xmlns:a16="http://schemas.microsoft.com/office/drawing/2014/main" id="{5046C0EF-874B-45F7-9A27-5A6C4329D820}"/>
                </a:ext>
              </a:extLst>
            </p:cNvPr>
            <p:cNvSpPr>
              <a:spLocks/>
            </p:cNvSpPr>
            <p:nvPr/>
          </p:nvSpPr>
          <p:spPr bwMode="gray">
            <a:xfrm>
              <a:off x="2492" y="1198"/>
              <a:ext cx="6" cy="3"/>
            </a:xfrm>
            <a:custGeom>
              <a:avLst/>
              <a:gdLst>
                <a:gd name="T0" fmla="*/ 23 w 36"/>
                <a:gd name="T1" fmla="*/ 0 h 19"/>
                <a:gd name="T2" fmla="*/ 23 w 36"/>
                <a:gd name="T3" fmla="*/ 0 h 19"/>
                <a:gd name="T4" fmla="*/ 36 w 36"/>
                <a:gd name="T5" fmla="*/ 14 h 19"/>
                <a:gd name="T6" fmla="*/ 23 w 36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19">
                  <a:moveTo>
                    <a:pt x="23" y="0"/>
                  </a:moveTo>
                  <a:lnTo>
                    <a:pt x="23" y="0"/>
                  </a:lnTo>
                  <a:cubicBezTo>
                    <a:pt x="0" y="19"/>
                    <a:pt x="22" y="10"/>
                    <a:pt x="36" y="14"/>
                  </a:cubicBezTo>
                  <a:lnTo>
                    <a:pt x="2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246">
              <a:extLst>
                <a:ext uri="{FF2B5EF4-FFF2-40B4-BE49-F238E27FC236}">
                  <a16:creationId xmlns:a16="http://schemas.microsoft.com/office/drawing/2014/main" id="{5DA19CBD-17D3-42CF-840E-011D6A3054D2}"/>
                </a:ext>
              </a:extLst>
            </p:cNvPr>
            <p:cNvSpPr>
              <a:spLocks/>
            </p:cNvSpPr>
            <p:nvPr/>
          </p:nvSpPr>
          <p:spPr bwMode="gray">
            <a:xfrm>
              <a:off x="2498" y="1200"/>
              <a:ext cx="2" cy="2"/>
            </a:xfrm>
            <a:custGeom>
              <a:avLst/>
              <a:gdLst>
                <a:gd name="T0" fmla="*/ 0 w 9"/>
                <a:gd name="T1" fmla="*/ 0 h 9"/>
                <a:gd name="T2" fmla="*/ 0 w 9"/>
                <a:gd name="T3" fmla="*/ 0 h 9"/>
                <a:gd name="T4" fmla="*/ 9 w 9"/>
                <a:gd name="T5" fmla="*/ 9 h 9"/>
                <a:gd name="T6" fmla="*/ 0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lnTo>
                    <a:pt x="0" y="0"/>
                  </a:lnTo>
                  <a:lnTo>
                    <a:pt x="9" y="9"/>
                  </a:lnTo>
                  <a:cubicBezTo>
                    <a:pt x="8" y="4"/>
                    <a:pt x="4" y="1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247">
              <a:extLst>
                <a:ext uri="{FF2B5EF4-FFF2-40B4-BE49-F238E27FC236}">
                  <a16:creationId xmlns:a16="http://schemas.microsoft.com/office/drawing/2014/main" id="{D289E55E-0CBD-48E1-AA7D-B997F0A0BBAB}"/>
                </a:ext>
              </a:extLst>
            </p:cNvPr>
            <p:cNvSpPr>
              <a:spLocks/>
            </p:cNvSpPr>
            <p:nvPr/>
          </p:nvSpPr>
          <p:spPr bwMode="gray">
            <a:xfrm>
              <a:off x="2501" y="1209"/>
              <a:ext cx="15" cy="8"/>
            </a:xfrm>
            <a:custGeom>
              <a:avLst/>
              <a:gdLst>
                <a:gd name="T0" fmla="*/ 81 w 81"/>
                <a:gd name="T1" fmla="*/ 21 h 42"/>
                <a:gd name="T2" fmla="*/ 81 w 81"/>
                <a:gd name="T3" fmla="*/ 21 h 42"/>
                <a:gd name="T4" fmla="*/ 39 w 81"/>
                <a:gd name="T5" fmla="*/ 11 h 42"/>
                <a:gd name="T6" fmla="*/ 0 w 81"/>
                <a:gd name="T7" fmla="*/ 12 h 42"/>
                <a:gd name="T8" fmla="*/ 39 w 81"/>
                <a:gd name="T9" fmla="*/ 40 h 42"/>
                <a:gd name="T10" fmla="*/ 81 w 81"/>
                <a:gd name="T11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42">
                  <a:moveTo>
                    <a:pt x="81" y="21"/>
                  </a:moveTo>
                  <a:lnTo>
                    <a:pt x="81" y="21"/>
                  </a:lnTo>
                  <a:cubicBezTo>
                    <a:pt x="64" y="26"/>
                    <a:pt x="51" y="17"/>
                    <a:pt x="39" y="11"/>
                  </a:cubicBezTo>
                  <a:cubicBezTo>
                    <a:pt x="27" y="5"/>
                    <a:pt x="15" y="0"/>
                    <a:pt x="0" y="12"/>
                  </a:cubicBezTo>
                  <a:cubicBezTo>
                    <a:pt x="8" y="28"/>
                    <a:pt x="23" y="38"/>
                    <a:pt x="39" y="40"/>
                  </a:cubicBezTo>
                  <a:cubicBezTo>
                    <a:pt x="55" y="42"/>
                    <a:pt x="71" y="37"/>
                    <a:pt x="81" y="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248">
              <a:extLst>
                <a:ext uri="{FF2B5EF4-FFF2-40B4-BE49-F238E27FC236}">
                  <a16:creationId xmlns:a16="http://schemas.microsoft.com/office/drawing/2014/main" id="{09AC9153-CF5C-45E8-9F1E-E9E5706055B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09" y="1206"/>
              <a:ext cx="6" cy="3"/>
            </a:xfrm>
            <a:custGeom>
              <a:avLst/>
              <a:gdLst>
                <a:gd name="T0" fmla="*/ 11 w 34"/>
                <a:gd name="T1" fmla="*/ 1 h 17"/>
                <a:gd name="T2" fmla="*/ 11 w 34"/>
                <a:gd name="T3" fmla="*/ 1 h 17"/>
                <a:gd name="T4" fmla="*/ 0 w 34"/>
                <a:gd name="T5" fmla="*/ 17 h 17"/>
                <a:gd name="T6" fmla="*/ 34 w 34"/>
                <a:gd name="T7" fmla="*/ 0 h 17"/>
                <a:gd name="T8" fmla="*/ 11 w 34"/>
                <a:gd name="T9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11" y="1"/>
                  </a:moveTo>
                  <a:lnTo>
                    <a:pt x="11" y="1"/>
                  </a:lnTo>
                  <a:lnTo>
                    <a:pt x="0" y="17"/>
                  </a:lnTo>
                  <a:lnTo>
                    <a:pt x="34" y="0"/>
                  </a:lnTo>
                  <a:lnTo>
                    <a:pt x="11" y="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249">
              <a:extLst>
                <a:ext uri="{FF2B5EF4-FFF2-40B4-BE49-F238E27FC236}">
                  <a16:creationId xmlns:a16="http://schemas.microsoft.com/office/drawing/2014/main" id="{4A97E509-2910-45BB-9203-7B674532BE17}"/>
                </a:ext>
              </a:extLst>
            </p:cNvPr>
            <p:cNvSpPr>
              <a:spLocks/>
            </p:cNvSpPr>
            <p:nvPr/>
          </p:nvSpPr>
          <p:spPr bwMode="gray">
            <a:xfrm>
              <a:off x="2509" y="1202"/>
              <a:ext cx="8" cy="1"/>
            </a:xfrm>
            <a:custGeom>
              <a:avLst/>
              <a:gdLst>
                <a:gd name="T0" fmla="*/ 0 w 42"/>
                <a:gd name="T1" fmla="*/ 0 h 7"/>
                <a:gd name="T2" fmla="*/ 0 w 42"/>
                <a:gd name="T3" fmla="*/ 0 h 7"/>
                <a:gd name="T4" fmla="*/ 0 w 42"/>
                <a:gd name="T5" fmla="*/ 7 h 7"/>
                <a:gd name="T6" fmla="*/ 42 w 42"/>
                <a:gd name="T7" fmla="*/ 5 h 7"/>
                <a:gd name="T8" fmla="*/ 0 w 42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7">
                  <a:moveTo>
                    <a:pt x="0" y="0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42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250">
              <a:extLst>
                <a:ext uri="{FF2B5EF4-FFF2-40B4-BE49-F238E27FC236}">
                  <a16:creationId xmlns:a16="http://schemas.microsoft.com/office/drawing/2014/main" id="{6398BD1C-2E58-423A-8633-E4910256F37D}"/>
                </a:ext>
              </a:extLst>
            </p:cNvPr>
            <p:cNvSpPr>
              <a:spLocks/>
            </p:cNvSpPr>
            <p:nvPr/>
          </p:nvSpPr>
          <p:spPr bwMode="gray">
            <a:xfrm>
              <a:off x="2516" y="1209"/>
              <a:ext cx="15" cy="22"/>
            </a:xfrm>
            <a:custGeom>
              <a:avLst/>
              <a:gdLst>
                <a:gd name="T0" fmla="*/ 83 w 83"/>
                <a:gd name="T1" fmla="*/ 65 h 116"/>
                <a:gd name="T2" fmla="*/ 83 w 83"/>
                <a:gd name="T3" fmla="*/ 65 h 116"/>
                <a:gd name="T4" fmla="*/ 55 w 83"/>
                <a:gd name="T5" fmla="*/ 61 h 116"/>
                <a:gd name="T6" fmla="*/ 73 w 83"/>
                <a:gd name="T7" fmla="*/ 12 h 116"/>
                <a:gd name="T8" fmla="*/ 6 w 83"/>
                <a:gd name="T9" fmla="*/ 34 h 116"/>
                <a:gd name="T10" fmla="*/ 51 w 83"/>
                <a:gd name="T11" fmla="*/ 92 h 116"/>
                <a:gd name="T12" fmla="*/ 83 w 83"/>
                <a:gd name="T13" fmla="*/ 6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116">
                  <a:moveTo>
                    <a:pt x="83" y="65"/>
                  </a:moveTo>
                  <a:lnTo>
                    <a:pt x="83" y="65"/>
                  </a:lnTo>
                  <a:lnTo>
                    <a:pt x="55" y="61"/>
                  </a:lnTo>
                  <a:cubicBezTo>
                    <a:pt x="40" y="27"/>
                    <a:pt x="83" y="34"/>
                    <a:pt x="73" y="12"/>
                  </a:cubicBezTo>
                  <a:cubicBezTo>
                    <a:pt x="42" y="0"/>
                    <a:pt x="43" y="58"/>
                    <a:pt x="6" y="34"/>
                  </a:cubicBezTo>
                  <a:cubicBezTo>
                    <a:pt x="0" y="59"/>
                    <a:pt x="71" y="59"/>
                    <a:pt x="51" y="92"/>
                  </a:cubicBezTo>
                  <a:cubicBezTo>
                    <a:pt x="82" y="116"/>
                    <a:pt x="60" y="72"/>
                    <a:pt x="83" y="6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251">
              <a:extLst>
                <a:ext uri="{FF2B5EF4-FFF2-40B4-BE49-F238E27FC236}">
                  <a16:creationId xmlns:a16="http://schemas.microsoft.com/office/drawing/2014/main" id="{9DD5DA07-F1D3-49F0-B8D7-A0B2F781480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71" y="1151"/>
              <a:ext cx="1" cy="1"/>
            </a:xfrm>
            <a:custGeom>
              <a:avLst/>
              <a:gdLst>
                <a:gd name="T0" fmla="*/ 2 w 7"/>
                <a:gd name="T1" fmla="*/ 2 h 2"/>
                <a:gd name="T2" fmla="*/ 2 w 7"/>
                <a:gd name="T3" fmla="*/ 2 h 2"/>
                <a:gd name="T4" fmla="*/ 7 w 7"/>
                <a:gd name="T5" fmla="*/ 0 h 2"/>
                <a:gd name="T6" fmla="*/ 2 w 7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">
                  <a:moveTo>
                    <a:pt x="2" y="2"/>
                  </a:moveTo>
                  <a:lnTo>
                    <a:pt x="2" y="2"/>
                  </a:lnTo>
                  <a:cubicBezTo>
                    <a:pt x="4" y="2"/>
                    <a:pt x="5" y="1"/>
                    <a:pt x="7" y="0"/>
                  </a:cubicBezTo>
                  <a:cubicBezTo>
                    <a:pt x="3" y="0"/>
                    <a:pt x="0" y="0"/>
                    <a:pt x="2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252">
              <a:extLst>
                <a:ext uri="{FF2B5EF4-FFF2-40B4-BE49-F238E27FC236}">
                  <a16:creationId xmlns:a16="http://schemas.microsoft.com/office/drawing/2014/main" id="{49F11C14-8D30-4D94-8FFD-7F042211DA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94" y="1082"/>
              <a:ext cx="2" cy="3"/>
            </a:xfrm>
            <a:custGeom>
              <a:avLst/>
              <a:gdLst>
                <a:gd name="T0" fmla="*/ 1 w 11"/>
                <a:gd name="T1" fmla="*/ 12 h 12"/>
                <a:gd name="T2" fmla="*/ 1 w 11"/>
                <a:gd name="T3" fmla="*/ 12 h 12"/>
                <a:gd name="T4" fmla="*/ 11 w 11"/>
                <a:gd name="T5" fmla="*/ 0 h 12"/>
                <a:gd name="T6" fmla="*/ 0 w 11"/>
                <a:gd name="T7" fmla="*/ 3 h 12"/>
                <a:gd name="T8" fmla="*/ 1 w 11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2">
                  <a:moveTo>
                    <a:pt x="1" y="12"/>
                  </a:moveTo>
                  <a:lnTo>
                    <a:pt x="1" y="12"/>
                  </a:lnTo>
                  <a:cubicBezTo>
                    <a:pt x="6" y="8"/>
                    <a:pt x="9" y="4"/>
                    <a:pt x="11" y="0"/>
                  </a:cubicBezTo>
                  <a:cubicBezTo>
                    <a:pt x="7" y="0"/>
                    <a:pt x="3" y="1"/>
                    <a:pt x="0" y="3"/>
                  </a:cubicBezTo>
                  <a:lnTo>
                    <a:pt x="1" y="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253">
              <a:extLst>
                <a:ext uri="{FF2B5EF4-FFF2-40B4-BE49-F238E27FC236}">
                  <a16:creationId xmlns:a16="http://schemas.microsoft.com/office/drawing/2014/main" id="{769282EC-20E8-4AFD-89EB-FE9DEDBAFD9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4" y="1199"/>
              <a:ext cx="3" cy="1"/>
            </a:xfrm>
            <a:custGeom>
              <a:avLst/>
              <a:gdLst>
                <a:gd name="T0" fmla="*/ 16 w 16"/>
                <a:gd name="T1" fmla="*/ 0 h 7"/>
                <a:gd name="T2" fmla="*/ 16 w 16"/>
                <a:gd name="T3" fmla="*/ 0 h 7"/>
                <a:gd name="T4" fmla="*/ 0 w 16"/>
                <a:gd name="T5" fmla="*/ 6 h 7"/>
                <a:gd name="T6" fmla="*/ 16 w 16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7">
                  <a:moveTo>
                    <a:pt x="16" y="0"/>
                  </a:moveTo>
                  <a:lnTo>
                    <a:pt x="16" y="0"/>
                  </a:lnTo>
                  <a:cubicBezTo>
                    <a:pt x="9" y="2"/>
                    <a:pt x="4" y="4"/>
                    <a:pt x="0" y="6"/>
                  </a:cubicBezTo>
                  <a:cubicBezTo>
                    <a:pt x="6" y="7"/>
                    <a:pt x="11" y="6"/>
                    <a:pt x="1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254">
              <a:extLst>
                <a:ext uri="{FF2B5EF4-FFF2-40B4-BE49-F238E27FC236}">
                  <a16:creationId xmlns:a16="http://schemas.microsoft.com/office/drawing/2014/main" id="{E1A420DD-6A2E-41F8-8391-43B420B20E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898"/>
              <a:ext cx="3" cy="1"/>
            </a:xfrm>
            <a:custGeom>
              <a:avLst/>
              <a:gdLst>
                <a:gd name="T0" fmla="*/ 0 w 20"/>
                <a:gd name="T1" fmla="*/ 0 h 3"/>
                <a:gd name="T2" fmla="*/ 0 w 20"/>
                <a:gd name="T3" fmla="*/ 0 h 3"/>
                <a:gd name="T4" fmla="*/ 18 w 20"/>
                <a:gd name="T5" fmla="*/ 3 h 3"/>
                <a:gd name="T6" fmla="*/ 20 w 20"/>
                <a:gd name="T7" fmla="*/ 3 h 3"/>
                <a:gd name="T8" fmla="*/ 5 w 20"/>
                <a:gd name="T9" fmla="*/ 0 h 3"/>
                <a:gd name="T10" fmla="*/ 0 w 20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">
                  <a:moveTo>
                    <a:pt x="0" y="0"/>
                  </a:moveTo>
                  <a:lnTo>
                    <a:pt x="0" y="0"/>
                  </a:lnTo>
                  <a:cubicBezTo>
                    <a:pt x="4" y="1"/>
                    <a:pt x="9" y="2"/>
                    <a:pt x="18" y="3"/>
                  </a:cubicBezTo>
                  <a:cubicBezTo>
                    <a:pt x="18" y="3"/>
                    <a:pt x="19" y="3"/>
                    <a:pt x="20" y="3"/>
                  </a:cubicBez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255">
              <a:extLst>
                <a:ext uri="{FF2B5EF4-FFF2-40B4-BE49-F238E27FC236}">
                  <a16:creationId xmlns:a16="http://schemas.microsoft.com/office/drawing/2014/main" id="{71311C5D-A481-4A6D-A406-DB4D0393110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74" y="1023"/>
              <a:ext cx="2" cy="2"/>
            </a:xfrm>
            <a:custGeom>
              <a:avLst/>
              <a:gdLst>
                <a:gd name="T0" fmla="*/ 10 w 10"/>
                <a:gd name="T1" fmla="*/ 10 h 10"/>
                <a:gd name="T2" fmla="*/ 10 w 10"/>
                <a:gd name="T3" fmla="*/ 10 h 10"/>
                <a:gd name="T4" fmla="*/ 0 w 10"/>
                <a:gd name="T5" fmla="*/ 0 h 10"/>
                <a:gd name="T6" fmla="*/ 10 w 10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10" y="10"/>
                  </a:moveTo>
                  <a:lnTo>
                    <a:pt x="10" y="10"/>
                  </a:lnTo>
                  <a:cubicBezTo>
                    <a:pt x="7" y="6"/>
                    <a:pt x="4" y="3"/>
                    <a:pt x="0" y="0"/>
                  </a:cubicBezTo>
                  <a:cubicBezTo>
                    <a:pt x="3" y="7"/>
                    <a:pt x="6" y="10"/>
                    <a:pt x="10" y="1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256">
              <a:extLst>
                <a:ext uri="{FF2B5EF4-FFF2-40B4-BE49-F238E27FC236}">
                  <a16:creationId xmlns:a16="http://schemas.microsoft.com/office/drawing/2014/main" id="{BFF24BBF-3AFF-42F1-9460-9EBC48E32B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1" y="1212"/>
              <a:ext cx="1" cy="1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3 h 4"/>
                <a:gd name="T4" fmla="*/ 7 w 7"/>
                <a:gd name="T5" fmla="*/ 2 h 4"/>
                <a:gd name="T6" fmla="*/ 0 w 7"/>
                <a:gd name="T7" fmla="*/ 0 h 4"/>
                <a:gd name="T8" fmla="*/ 2 w 7"/>
                <a:gd name="T9" fmla="*/ 4 h 4"/>
                <a:gd name="T10" fmla="*/ 3 w 7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lnTo>
                    <a:pt x="3" y="3"/>
                  </a:lnTo>
                  <a:cubicBezTo>
                    <a:pt x="4" y="3"/>
                    <a:pt x="6" y="2"/>
                    <a:pt x="7" y="2"/>
                  </a:cubicBezTo>
                  <a:cubicBezTo>
                    <a:pt x="5" y="1"/>
                    <a:pt x="3" y="1"/>
                    <a:pt x="0" y="0"/>
                  </a:cubicBezTo>
                  <a:lnTo>
                    <a:pt x="2" y="4"/>
                  </a:lnTo>
                  <a:cubicBezTo>
                    <a:pt x="2" y="3"/>
                    <a:pt x="2" y="3"/>
                    <a:pt x="3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257">
              <a:extLst>
                <a:ext uri="{FF2B5EF4-FFF2-40B4-BE49-F238E27FC236}">
                  <a16:creationId xmlns:a16="http://schemas.microsoft.com/office/drawing/2014/main" id="{C8A3AD6D-13D7-4631-9FE7-0DB00FF26863}"/>
                </a:ext>
              </a:extLst>
            </p:cNvPr>
            <p:cNvSpPr>
              <a:spLocks/>
            </p:cNvSpPr>
            <p:nvPr/>
          </p:nvSpPr>
          <p:spPr bwMode="gray">
            <a:xfrm>
              <a:off x="2779" y="1100"/>
              <a:ext cx="1" cy="2"/>
            </a:xfrm>
            <a:custGeom>
              <a:avLst/>
              <a:gdLst>
                <a:gd name="T0" fmla="*/ 0 w 8"/>
                <a:gd name="T1" fmla="*/ 11 h 11"/>
                <a:gd name="T2" fmla="*/ 0 w 8"/>
                <a:gd name="T3" fmla="*/ 11 h 11"/>
                <a:gd name="T4" fmla="*/ 8 w 8"/>
                <a:gd name="T5" fmla="*/ 0 h 11"/>
                <a:gd name="T6" fmla="*/ 0 w 8"/>
                <a:gd name="T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1">
                  <a:moveTo>
                    <a:pt x="0" y="11"/>
                  </a:moveTo>
                  <a:lnTo>
                    <a:pt x="0" y="11"/>
                  </a:lnTo>
                  <a:cubicBezTo>
                    <a:pt x="4" y="7"/>
                    <a:pt x="7" y="3"/>
                    <a:pt x="8" y="0"/>
                  </a:cubicBezTo>
                  <a:cubicBezTo>
                    <a:pt x="4" y="3"/>
                    <a:pt x="1" y="7"/>
                    <a:pt x="0" y="1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258">
              <a:extLst>
                <a:ext uri="{FF2B5EF4-FFF2-40B4-BE49-F238E27FC236}">
                  <a16:creationId xmlns:a16="http://schemas.microsoft.com/office/drawing/2014/main" id="{1562B669-F736-4ED0-A731-28A23D7201F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05" y="1243"/>
              <a:ext cx="4" cy="3"/>
            </a:xfrm>
            <a:custGeom>
              <a:avLst/>
              <a:gdLst>
                <a:gd name="T0" fmla="*/ 0 w 20"/>
                <a:gd name="T1" fmla="*/ 9 h 13"/>
                <a:gd name="T2" fmla="*/ 0 w 20"/>
                <a:gd name="T3" fmla="*/ 9 h 13"/>
                <a:gd name="T4" fmla="*/ 20 w 20"/>
                <a:gd name="T5" fmla="*/ 8 h 13"/>
                <a:gd name="T6" fmla="*/ 0 w 20"/>
                <a:gd name="T7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0" y="9"/>
                  </a:moveTo>
                  <a:lnTo>
                    <a:pt x="0" y="9"/>
                  </a:lnTo>
                  <a:cubicBezTo>
                    <a:pt x="7" y="13"/>
                    <a:pt x="14" y="11"/>
                    <a:pt x="20" y="8"/>
                  </a:cubicBezTo>
                  <a:cubicBezTo>
                    <a:pt x="15" y="1"/>
                    <a:pt x="9" y="0"/>
                    <a:pt x="0" y="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259">
              <a:extLst>
                <a:ext uri="{FF2B5EF4-FFF2-40B4-BE49-F238E27FC236}">
                  <a16:creationId xmlns:a16="http://schemas.microsoft.com/office/drawing/2014/main" id="{C54ECDE0-DA4D-4DDC-8255-93992084F6E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5" y="1246"/>
              <a:ext cx="0" cy="1"/>
            </a:xfrm>
            <a:custGeom>
              <a:avLst/>
              <a:gdLst>
                <a:gd name="T0" fmla="*/ 1 w 1"/>
                <a:gd name="T1" fmla="*/ 0 h 5"/>
                <a:gd name="T2" fmla="*/ 1 w 1"/>
                <a:gd name="T3" fmla="*/ 0 h 5"/>
                <a:gd name="T4" fmla="*/ 0 w 1"/>
                <a:gd name="T5" fmla="*/ 0 h 5"/>
                <a:gd name="T6" fmla="*/ 1 w 1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5">
                  <a:moveTo>
                    <a:pt x="1" y="0"/>
                  </a:moveTo>
                  <a:lnTo>
                    <a:pt x="1" y="0"/>
                  </a:lnTo>
                  <a:cubicBezTo>
                    <a:pt x="1" y="0"/>
                    <a:pt x="0" y="0"/>
                    <a:pt x="0" y="0"/>
                  </a:cubicBezTo>
                  <a:cubicBezTo>
                    <a:pt x="1" y="5"/>
                    <a:pt x="1" y="4"/>
                    <a:pt x="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260">
              <a:extLst>
                <a:ext uri="{FF2B5EF4-FFF2-40B4-BE49-F238E27FC236}">
                  <a16:creationId xmlns:a16="http://schemas.microsoft.com/office/drawing/2014/main" id="{898F8C4B-A4AB-433C-8E99-0EA4B85577E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53" y="1248"/>
              <a:ext cx="1" cy="1"/>
            </a:xfrm>
            <a:custGeom>
              <a:avLst/>
              <a:gdLst>
                <a:gd name="T0" fmla="*/ 2 w 2"/>
                <a:gd name="T1" fmla="*/ 0 h 5"/>
                <a:gd name="T2" fmla="*/ 2 w 2"/>
                <a:gd name="T3" fmla="*/ 0 h 5"/>
                <a:gd name="T4" fmla="*/ 0 w 2"/>
                <a:gd name="T5" fmla="*/ 1 h 5"/>
                <a:gd name="T6" fmla="*/ 2 w 2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5">
                  <a:moveTo>
                    <a:pt x="2" y="0"/>
                  </a:moveTo>
                  <a:lnTo>
                    <a:pt x="2" y="0"/>
                  </a:lnTo>
                  <a:cubicBezTo>
                    <a:pt x="1" y="1"/>
                    <a:pt x="1" y="1"/>
                    <a:pt x="0" y="1"/>
                  </a:cubicBezTo>
                  <a:cubicBezTo>
                    <a:pt x="1" y="5"/>
                    <a:pt x="2" y="5"/>
                    <a:pt x="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261">
              <a:extLst>
                <a:ext uri="{FF2B5EF4-FFF2-40B4-BE49-F238E27FC236}">
                  <a16:creationId xmlns:a16="http://schemas.microsoft.com/office/drawing/2014/main" id="{73634999-5BF3-4BF5-B3BE-58D306DF8CB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09" y="1238"/>
              <a:ext cx="13" cy="18"/>
            </a:xfrm>
            <a:custGeom>
              <a:avLst/>
              <a:gdLst>
                <a:gd name="T0" fmla="*/ 0 w 69"/>
                <a:gd name="T1" fmla="*/ 34 h 98"/>
                <a:gd name="T2" fmla="*/ 0 w 69"/>
                <a:gd name="T3" fmla="*/ 34 h 98"/>
                <a:gd name="T4" fmla="*/ 33 w 69"/>
                <a:gd name="T5" fmla="*/ 47 h 98"/>
                <a:gd name="T6" fmla="*/ 31 w 69"/>
                <a:gd name="T7" fmla="*/ 40 h 98"/>
                <a:gd name="T8" fmla="*/ 69 w 69"/>
                <a:gd name="T9" fmla="*/ 32 h 98"/>
                <a:gd name="T10" fmla="*/ 66 w 69"/>
                <a:gd name="T11" fmla="*/ 19 h 98"/>
                <a:gd name="T12" fmla="*/ 40 w 69"/>
                <a:gd name="T13" fmla="*/ 12 h 98"/>
                <a:gd name="T14" fmla="*/ 0 w 69"/>
                <a:gd name="T15" fmla="*/ 3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98">
                  <a:moveTo>
                    <a:pt x="0" y="34"/>
                  </a:moveTo>
                  <a:lnTo>
                    <a:pt x="0" y="34"/>
                  </a:lnTo>
                  <a:cubicBezTo>
                    <a:pt x="12" y="50"/>
                    <a:pt x="12" y="98"/>
                    <a:pt x="33" y="47"/>
                  </a:cubicBezTo>
                  <a:lnTo>
                    <a:pt x="31" y="40"/>
                  </a:lnTo>
                  <a:cubicBezTo>
                    <a:pt x="40" y="53"/>
                    <a:pt x="57" y="33"/>
                    <a:pt x="69" y="32"/>
                  </a:cubicBezTo>
                  <a:cubicBezTo>
                    <a:pt x="68" y="27"/>
                    <a:pt x="67" y="23"/>
                    <a:pt x="66" y="19"/>
                  </a:cubicBezTo>
                  <a:cubicBezTo>
                    <a:pt x="60" y="18"/>
                    <a:pt x="52" y="16"/>
                    <a:pt x="40" y="12"/>
                  </a:cubicBezTo>
                  <a:cubicBezTo>
                    <a:pt x="27" y="0"/>
                    <a:pt x="15" y="24"/>
                    <a:pt x="0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262">
              <a:extLst>
                <a:ext uri="{FF2B5EF4-FFF2-40B4-BE49-F238E27FC236}">
                  <a16:creationId xmlns:a16="http://schemas.microsoft.com/office/drawing/2014/main" id="{987E58F2-BBE9-416C-92E4-D0026963A4C1}"/>
                </a:ext>
              </a:extLst>
            </p:cNvPr>
            <p:cNvSpPr>
              <a:spLocks/>
            </p:cNvSpPr>
            <p:nvPr/>
          </p:nvSpPr>
          <p:spPr bwMode="gray">
            <a:xfrm>
              <a:off x="2771" y="1152"/>
              <a:ext cx="2" cy="2"/>
            </a:xfrm>
            <a:custGeom>
              <a:avLst/>
              <a:gdLst>
                <a:gd name="T0" fmla="*/ 10 w 10"/>
                <a:gd name="T1" fmla="*/ 4 h 12"/>
                <a:gd name="T2" fmla="*/ 10 w 10"/>
                <a:gd name="T3" fmla="*/ 4 h 12"/>
                <a:gd name="T4" fmla="*/ 10 w 10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10" y="4"/>
                  </a:moveTo>
                  <a:lnTo>
                    <a:pt x="10" y="4"/>
                  </a:lnTo>
                  <a:cubicBezTo>
                    <a:pt x="1" y="0"/>
                    <a:pt x="0" y="12"/>
                    <a:pt x="10" y="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263">
              <a:extLst>
                <a:ext uri="{FF2B5EF4-FFF2-40B4-BE49-F238E27FC236}">
                  <a16:creationId xmlns:a16="http://schemas.microsoft.com/office/drawing/2014/main" id="{2824C290-E3CE-43D6-97CC-8F2E29228EF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" y="1175"/>
              <a:ext cx="1" cy="2"/>
            </a:xfrm>
            <a:custGeom>
              <a:avLst/>
              <a:gdLst>
                <a:gd name="T0" fmla="*/ 0 w 8"/>
                <a:gd name="T1" fmla="*/ 11 h 11"/>
                <a:gd name="T2" fmla="*/ 0 w 8"/>
                <a:gd name="T3" fmla="*/ 11 h 11"/>
                <a:gd name="T4" fmla="*/ 8 w 8"/>
                <a:gd name="T5" fmla="*/ 0 h 11"/>
                <a:gd name="T6" fmla="*/ 0 w 8"/>
                <a:gd name="T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1">
                  <a:moveTo>
                    <a:pt x="0" y="11"/>
                  </a:moveTo>
                  <a:lnTo>
                    <a:pt x="0" y="11"/>
                  </a:lnTo>
                  <a:cubicBezTo>
                    <a:pt x="3" y="7"/>
                    <a:pt x="5" y="4"/>
                    <a:pt x="8" y="0"/>
                  </a:cubicBezTo>
                  <a:cubicBezTo>
                    <a:pt x="4" y="3"/>
                    <a:pt x="0" y="6"/>
                    <a:pt x="0" y="1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264">
              <a:extLst>
                <a:ext uri="{FF2B5EF4-FFF2-40B4-BE49-F238E27FC236}">
                  <a16:creationId xmlns:a16="http://schemas.microsoft.com/office/drawing/2014/main" id="{F99395FB-5F89-4465-B614-2AA1E3F6BE2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7" y="1208"/>
              <a:ext cx="1" cy="2"/>
            </a:xfrm>
            <a:custGeom>
              <a:avLst/>
              <a:gdLst>
                <a:gd name="T0" fmla="*/ 0 w 3"/>
                <a:gd name="T1" fmla="*/ 4 h 6"/>
                <a:gd name="T2" fmla="*/ 0 w 3"/>
                <a:gd name="T3" fmla="*/ 4 h 6"/>
                <a:gd name="T4" fmla="*/ 3 w 3"/>
                <a:gd name="T5" fmla="*/ 6 h 6"/>
                <a:gd name="T6" fmla="*/ 0 w 3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4"/>
                  </a:moveTo>
                  <a:lnTo>
                    <a:pt x="0" y="4"/>
                  </a:lnTo>
                  <a:cubicBezTo>
                    <a:pt x="1" y="4"/>
                    <a:pt x="2" y="5"/>
                    <a:pt x="3" y="6"/>
                  </a:cubicBezTo>
                  <a:cubicBezTo>
                    <a:pt x="3" y="0"/>
                    <a:pt x="1" y="1"/>
                    <a:pt x="0" y="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265">
              <a:extLst>
                <a:ext uri="{FF2B5EF4-FFF2-40B4-BE49-F238E27FC236}">
                  <a16:creationId xmlns:a16="http://schemas.microsoft.com/office/drawing/2014/main" id="{3F20175F-C19A-4D8D-9BF1-57D532CD7C1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" y="1173"/>
              <a:ext cx="1" cy="2"/>
            </a:xfrm>
            <a:custGeom>
              <a:avLst/>
              <a:gdLst>
                <a:gd name="T0" fmla="*/ 6 w 7"/>
                <a:gd name="T1" fmla="*/ 0 h 10"/>
                <a:gd name="T2" fmla="*/ 6 w 7"/>
                <a:gd name="T3" fmla="*/ 0 h 10"/>
                <a:gd name="T4" fmla="*/ 0 w 7"/>
                <a:gd name="T5" fmla="*/ 10 h 10"/>
                <a:gd name="T6" fmla="*/ 6 w 7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0"/>
                  </a:moveTo>
                  <a:lnTo>
                    <a:pt x="6" y="0"/>
                  </a:lnTo>
                  <a:cubicBezTo>
                    <a:pt x="5" y="4"/>
                    <a:pt x="2" y="7"/>
                    <a:pt x="0" y="10"/>
                  </a:cubicBezTo>
                  <a:cubicBezTo>
                    <a:pt x="3" y="8"/>
                    <a:pt x="7" y="6"/>
                    <a:pt x="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266">
              <a:extLst>
                <a:ext uri="{FF2B5EF4-FFF2-40B4-BE49-F238E27FC236}">
                  <a16:creationId xmlns:a16="http://schemas.microsoft.com/office/drawing/2014/main" id="{D3C7206E-6E19-4B2A-9A31-FDE569264B7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3" y="1213"/>
              <a:ext cx="0" cy="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267">
              <a:extLst>
                <a:ext uri="{FF2B5EF4-FFF2-40B4-BE49-F238E27FC236}">
                  <a16:creationId xmlns:a16="http://schemas.microsoft.com/office/drawing/2014/main" id="{277BC45C-2C8A-4887-A8A0-52816FB814E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8" y="585"/>
              <a:ext cx="11" cy="8"/>
            </a:xfrm>
            <a:custGeom>
              <a:avLst/>
              <a:gdLst>
                <a:gd name="T0" fmla="*/ 14 w 61"/>
                <a:gd name="T1" fmla="*/ 17 h 42"/>
                <a:gd name="T2" fmla="*/ 14 w 61"/>
                <a:gd name="T3" fmla="*/ 17 h 42"/>
                <a:gd name="T4" fmla="*/ 46 w 61"/>
                <a:gd name="T5" fmla="*/ 33 h 42"/>
                <a:gd name="T6" fmla="*/ 34 w 61"/>
                <a:gd name="T7" fmla="*/ 15 h 42"/>
                <a:gd name="T8" fmla="*/ 32 w 61"/>
                <a:gd name="T9" fmla="*/ 0 h 42"/>
                <a:gd name="T10" fmla="*/ 0 w 61"/>
                <a:gd name="T11" fmla="*/ 8 h 42"/>
                <a:gd name="T12" fmla="*/ 8 w 61"/>
                <a:gd name="T13" fmla="*/ 25 h 42"/>
                <a:gd name="T14" fmla="*/ 16 w 61"/>
                <a:gd name="T15" fmla="*/ 42 h 42"/>
                <a:gd name="T16" fmla="*/ 14 w 61"/>
                <a:gd name="T17" fmla="*/ 1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42">
                  <a:moveTo>
                    <a:pt x="14" y="17"/>
                  </a:moveTo>
                  <a:lnTo>
                    <a:pt x="14" y="17"/>
                  </a:lnTo>
                  <a:cubicBezTo>
                    <a:pt x="28" y="14"/>
                    <a:pt x="34" y="28"/>
                    <a:pt x="46" y="33"/>
                  </a:cubicBezTo>
                  <a:cubicBezTo>
                    <a:pt x="61" y="17"/>
                    <a:pt x="47" y="15"/>
                    <a:pt x="34" y="15"/>
                  </a:cubicBezTo>
                  <a:cubicBezTo>
                    <a:pt x="22" y="14"/>
                    <a:pt x="11" y="14"/>
                    <a:pt x="32" y="0"/>
                  </a:cubicBezTo>
                  <a:cubicBezTo>
                    <a:pt x="19" y="0"/>
                    <a:pt x="9" y="4"/>
                    <a:pt x="0" y="8"/>
                  </a:cubicBezTo>
                  <a:cubicBezTo>
                    <a:pt x="0" y="8"/>
                    <a:pt x="4" y="17"/>
                    <a:pt x="8" y="25"/>
                  </a:cubicBezTo>
                  <a:cubicBezTo>
                    <a:pt x="12" y="33"/>
                    <a:pt x="16" y="42"/>
                    <a:pt x="16" y="42"/>
                  </a:cubicBezTo>
                  <a:cubicBezTo>
                    <a:pt x="40" y="30"/>
                    <a:pt x="1" y="30"/>
                    <a:pt x="14" y="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268">
              <a:extLst>
                <a:ext uri="{FF2B5EF4-FFF2-40B4-BE49-F238E27FC236}">
                  <a16:creationId xmlns:a16="http://schemas.microsoft.com/office/drawing/2014/main" id="{DF9B455B-7EF4-4B7C-8B7D-7574143AD4B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1" y="892"/>
              <a:ext cx="20" cy="7"/>
            </a:xfrm>
            <a:custGeom>
              <a:avLst/>
              <a:gdLst>
                <a:gd name="T0" fmla="*/ 70 w 108"/>
                <a:gd name="T1" fmla="*/ 32 h 41"/>
                <a:gd name="T2" fmla="*/ 70 w 108"/>
                <a:gd name="T3" fmla="*/ 32 h 41"/>
                <a:gd name="T4" fmla="*/ 64 w 108"/>
                <a:gd name="T5" fmla="*/ 32 h 41"/>
                <a:gd name="T6" fmla="*/ 108 w 108"/>
                <a:gd name="T7" fmla="*/ 41 h 41"/>
                <a:gd name="T8" fmla="*/ 59 w 108"/>
                <a:gd name="T9" fmla="*/ 22 h 41"/>
                <a:gd name="T10" fmla="*/ 14 w 108"/>
                <a:gd name="T11" fmla="*/ 0 h 41"/>
                <a:gd name="T12" fmla="*/ 0 w 108"/>
                <a:gd name="T13" fmla="*/ 4 h 41"/>
                <a:gd name="T14" fmla="*/ 70 w 108"/>
                <a:gd name="T15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8" h="41">
                  <a:moveTo>
                    <a:pt x="70" y="32"/>
                  </a:moveTo>
                  <a:lnTo>
                    <a:pt x="70" y="32"/>
                  </a:lnTo>
                  <a:lnTo>
                    <a:pt x="64" y="32"/>
                  </a:lnTo>
                  <a:cubicBezTo>
                    <a:pt x="85" y="38"/>
                    <a:pt x="91" y="40"/>
                    <a:pt x="108" y="41"/>
                  </a:cubicBezTo>
                  <a:cubicBezTo>
                    <a:pt x="96" y="34"/>
                    <a:pt x="77" y="28"/>
                    <a:pt x="59" y="22"/>
                  </a:cubicBezTo>
                  <a:cubicBezTo>
                    <a:pt x="40" y="16"/>
                    <a:pt x="21" y="9"/>
                    <a:pt x="14" y="0"/>
                  </a:cubicBezTo>
                  <a:cubicBezTo>
                    <a:pt x="14" y="2"/>
                    <a:pt x="8" y="4"/>
                    <a:pt x="0" y="4"/>
                  </a:cubicBezTo>
                  <a:cubicBezTo>
                    <a:pt x="32" y="10"/>
                    <a:pt x="52" y="23"/>
                    <a:pt x="70" y="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269">
              <a:extLst>
                <a:ext uri="{FF2B5EF4-FFF2-40B4-BE49-F238E27FC236}">
                  <a16:creationId xmlns:a16="http://schemas.microsoft.com/office/drawing/2014/main" id="{23C62B5D-8767-4C33-84F1-CFFF360EEC1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6" y="892"/>
              <a:ext cx="5" cy="1"/>
            </a:xfrm>
            <a:custGeom>
              <a:avLst/>
              <a:gdLst>
                <a:gd name="T0" fmla="*/ 28 w 28"/>
                <a:gd name="T1" fmla="*/ 3 h 4"/>
                <a:gd name="T2" fmla="*/ 28 w 28"/>
                <a:gd name="T3" fmla="*/ 3 h 4"/>
                <a:gd name="T4" fmla="*/ 25 w 28"/>
                <a:gd name="T5" fmla="*/ 3 h 4"/>
                <a:gd name="T6" fmla="*/ 12 w 28"/>
                <a:gd name="T7" fmla="*/ 0 h 4"/>
                <a:gd name="T8" fmla="*/ 0 w 28"/>
                <a:gd name="T9" fmla="*/ 2 h 4"/>
                <a:gd name="T10" fmla="*/ 28 w 28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4">
                  <a:moveTo>
                    <a:pt x="28" y="3"/>
                  </a:moveTo>
                  <a:lnTo>
                    <a:pt x="28" y="3"/>
                  </a:lnTo>
                  <a:cubicBezTo>
                    <a:pt x="27" y="3"/>
                    <a:pt x="26" y="3"/>
                    <a:pt x="25" y="3"/>
                  </a:cubicBezTo>
                  <a:cubicBezTo>
                    <a:pt x="20" y="2"/>
                    <a:pt x="16" y="1"/>
                    <a:pt x="12" y="0"/>
                  </a:cubicBezTo>
                  <a:cubicBezTo>
                    <a:pt x="9" y="1"/>
                    <a:pt x="5" y="2"/>
                    <a:pt x="0" y="2"/>
                  </a:cubicBezTo>
                  <a:cubicBezTo>
                    <a:pt x="10" y="3"/>
                    <a:pt x="20" y="4"/>
                    <a:pt x="28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270">
              <a:extLst>
                <a:ext uri="{FF2B5EF4-FFF2-40B4-BE49-F238E27FC236}">
                  <a16:creationId xmlns:a16="http://schemas.microsoft.com/office/drawing/2014/main" id="{2BAFBCF0-419B-4404-8214-F8A07F8A8EC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88" y="614"/>
              <a:ext cx="2" cy="2"/>
            </a:xfrm>
            <a:custGeom>
              <a:avLst/>
              <a:gdLst>
                <a:gd name="T0" fmla="*/ 0 w 12"/>
                <a:gd name="T1" fmla="*/ 1 h 12"/>
                <a:gd name="T2" fmla="*/ 0 w 12"/>
                <a:gd name="T3" fmla="*/ 1 h 12"/>
                <a:gd name="T4" fmla="*/ 12 w 12"/>
                <a:gd name="T5" fmla="*/ 12 h 12"/>
                <a:gd name="T6" fmla="*/ 0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0" y="1"/>
                  </a:moveTo>
                  <a:lnTo>
                    <a:pt x="0" y="1"/>
                  </a:lnTo>
                  <a:cubicBezTo>
                    <a:pt x="5" y="5"/>
                    <a:pt x="9" y="8"/>
                    <a:pt x="12" y="12"/>
                  </a:cubicBezTo>
                  <a:cubicBezTo>
                    <a:pt x="9" y="2"/>
                    <a:pt x="5" y="0"/>
                    <a:pt x="0" y="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271">
              <a:extLst>
                <a:ext uri="{FF2B5EF4-FFF2-40B4-BE49-F238E27FC236}">
                  <a16:creationId xmlns:a16="http://schemas.microsoft.com/office/drawing/2014/main" id="{E2A2C5E3-8E2F-4089-8050-966B99DD53AC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7" y="995"/>
              <a:ext cx="3" cy="2"/>
            </a:xfrm>
            <a:custGeom>
              <a:avLst/>
              <a:gdLst>
                <a:gd name="T0" fmla="*/ 0 w 17"/>
                <a:gd name="T1" fmla="*/ 0 h 12"/>
                <a:gd name="T2" fmla="*/ 0 w 17"/>
                <a:gd name="T3" fmla="*/ 0 h 12"/>
                <a:gd name="T4" fmla="*/ 17 w 17"/>
                <a:gd name="T5" fmla="*/ 12 h 12"/>
                <a:gd name="T6" fmla="*/ 0 w 17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2">
                  <a:moveTo>
                    <a:pt x="0" y="0"/>
                  </a:moveTo>
                  <a:lnTo>
                    <a:pt x="0" y="0"/>
                  </a:lnTo>
                  <a:cubicBezTo>
                    <a:pt x="6" y="5"/>
                    <a:pt x="11" y="9"/>
                    <a:pt x="17" y="12"/>
                  </a:cubicBezTo>
                  <a:cubicBezTo>
                    <a:pt x="11" y="4"/>
                    <a:pt x="5" y="1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272">
              <a:extLst>
                <a:ext uri="{FF2B5EF4-FFF2-40B4-BE49-F238E27FC236}">
                  <a16:creationId xmlns:a16="http://schemas.microsoft.com/office/drawing/2014/main" id="{74D6D5D8-F2E5-46CE-B18E-9259B1B2FFBD}"/>
                </a:ext>
              </a:extLst>
            </p:cNvPr>
            <p:cNvSpPr>
              <a:spLocks/>
            </p:cNvSpPr>
            <p:nvPr/>
          </p:nvSpPr>
          <p:spPr bwMode="gray">
            <a:xfrm>
              <a:off x="2716" y="904"/>
              <a:ext cx="4" cy="0"/>
            </a:xfrm>
            <a:custGeom>
              <a:avLst/>
              <a:gdLst>
                <a:gd name="T0" fmla="*/ 21 w 21"/>
                <a:gd name="T1" fmla="*/ 0 h 3"/>
                <a:gd name="T2" fmla="*/ 21 w 21"/>
                <a:gd name="T3" fmla="*/ 0 h 3"/>
                <a:gd name="T4" fmla="*/ 2 w 21"/>
                <a:gd name="T5" fmla="*/ 1 h 3"/>
                <a:gd name="T6" fmla="*/ 0 w 21"/>
                <a:gd name="T7" fmla="*/ 3 h 3"/>
                <a:gd name="T8" fmla="*/ 21 w 21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3">
                  <a:moveTo>
                    <a:pt x="21" y="0"/>
                  </a:moveTo>
                  <a:lnTo>
                    <a:pt x="21" y="0"/>
                  </a:lnTo>
                  <a:cubicBezTo>
                    <a:pt x="13" y="0"/>
                    <a:pt x="7" y="1"/>
                    <a:pt x="2" y="1"/>
                  </a:cubicBezTo>
                  <a:cubicBezTo>
                    <a:pt x="1" y="2"/>
                    <a:pt x="2" y="2"/>
                    <a:pt x="0" y="3"/>
                  </a:cubicBezTo>
                  <a:lnTo>
                    <a:pt x="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273">
              <a:extLst>
                <a:ext uri="{FF2B5EF4-FFF2-40B4-BE49-F238E27FC236}">
                  <a16:creationId xmlns:a16="http://schemas.microsoft.com/office/drawing/2014/main" id="{F68F2920-32A0-4BC9-AC41-63CC574DE0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4" y="800"/>
              <a:ext cx="6" cy="8"/>
            </a:xfrm>
            <a:custGeom>
              <a:avLst/>
              <a:gdLst>
                <a:gd name="T0" fmla="*/ 1 w 31"/>
                <a:gd name="T1" fmla="*/ 24 h 46"/>
                <a:gd name="T2" fmla="*/ 1 w 31"/>
                <a:gd name="T3" fmla="*/ 24 h 46"/>
                <a:gd name="T4" fmla="*/ 24 w 31"/>
                <a:gd name="T5" fmla="*/ 18 h 46"/>
                <a:gd name="T6" fmla="*/ 18 w 31"/>
                <a:gd name="T7" fmla="*/ 9 h 46"/>
                <a:gd name="T8" fmla="*/ 11 w 31"/>
                <a:gd name="T9" fmla="*/ 0 h 46"/>
                <a:gd name="T10" fmla="*/ 1 w 31"/>
                <a:gd name="T11" fmla="*/ 2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46">
                  <a:moveTo>
                    <a:pt x="1" y="24"/>
                  </a:moveTo>
                  <a:lnTo>
                    <a:pt x="1" y="24"/>
                  </a:lnTo>
                  <a:cubicBezTo>
                    <a:pt x="31" y="46"/>
                    <a:pt x="0" y="19"/>
                    <a:pt x="24" y="18"/>
                  </a:cubicBezTo>
                  <a:cubicBezTo>
                    <a:pt x="24" y="18"/>
                    <a:pt x="21" y="13"/>
                    <a:pt x="18" y="9"/>
                  </a:cubicBezTo>
                  <a:cubicBezTo>
                    <a:pt x="14" y="4"/>
                    <a:pt x="11" y="0"/>
                    <a:pt x="11" y="0"/>
                  </a:cubicBezTo>
                  <a:cubicBezTo>
                    <a:pt x="2" y="6"/>
                    <a:pt x="3" y="16"/>
                    <a:pt x="1" y="2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274">
              <a:extLst>
                <a:ext uri="{FF2B5EF4-FFF2-40B4-BE49-F238E27FC236}">
                  <a16:creationId xmlns:a16="http://schemas.microsoft.com/office/drawing/2014/main" id="{CA9EF1BE-BBB0-424F-96AC-15ACA51E9AF4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7" y="586"/>
              <a:ext cx="1" cy="1"/>
            </a:xfrm>
            <a:custGeom>
              <a:avLst/>
              <a:gdLst>
                <a:gd name="T0" fmla="*/ 0 w 1"/>
                <a:gd name="T1" fmla="*/ 0 h 3"/>
                <a:gd name="T2" fmla="*/ 0 w 1"/>
                <a:gd name="T3" fmla="*/ 0 h 3"/>
                <a:gd name="T4" fmla="*/ 0 w 1"/>
                <a:gd name="T5" fmla="*/ 3 h 3"/>
                <a:gd name="T6" fmla="*/ 1 w 1"/>
                <a:gd name="T7" fmla="*/ 2 h 3"/>
                <a:gd name="T8" fmla="*/ 0 w 1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">
                  <a:moveTo>
                    <a:pt x="0" y="0"/>
                  </a:moveTo>
                  <a:lnTo>
                    <a:pt x="0" y="0"/>
                  </a:ln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1" y="2"/>
                    <a:pt x="1" y="2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275">
              <a:extLst>
                <a:ext uri="{FF2B5EF4-FFF2-40B4-BE49-F238E27FC236}">
                  <a16:creationId xmlns:a16="http://schemas.microsoft.com/office/drawing/2014/main" id="{1018239D-B9ED-43CF-B3C5-C4FAA645E26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73" y="740"/>
              <a:ext cx="1" cy="2"/>
            </a:xfrm>
            <a:custGeom>
              <a:avLst/>
              <a:gdLst>
                <a:gd name="T0" fmla="*/ 0 w 5"/>
                <a:gd name="T1" fmla="*/ 6 h 6"/>
                <a:gd name="T2" fmla="*/ 0 w 5"/>
                <a:gd name="T3" fmla="*/ 6 h 6"/>
                <a:gd name="T4" fmla="*/ 5 w 5"/>
                <a:gd name="T5" fmla="*/ 0 h 6"/>
                <a:gd name="T6" fmla="*/ 0 w 5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6">
                  <a:moveTo>
                    <a:pt x="0" y="6"/>
                  </a:moveTo>
                  <a:lnTo>
                    <a:pt x="0" y="6"/>
                  </a:lnTo>
                  <a:cubicBezTo>
                    <a:pt x="2" y="4"/>
                    <a:pt x="3" y="2"/>
                    <a:pt x="5" y="0"/>
                  </a:cubicBezTo>
                  <a:cubicBezTo>
                    <a:pt x="3" y="1"/>
                    <a:pt x="1" y="3"/>
                    <a:pt x="0" y="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276">
              <a:extLst>
                <a:ext uri="{FF2B5EF4-FFF2-40B4-BE49-F238E27FC236}">
                  <a16:creationId xmlns:a16="http://schemas.microsoft.com/office/drawing/2014/main" id="{E50E3EF9-A613-48DA-A23E-274083B2D1B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15" y="896"/>
              <a:ext cx="12" cy="2"/>
            </a:xfrm>
            <a:custGeom>
              <a:avLst/>
              <a:gdLst>
                <a:gd name="T0" fmla="*/ 50 w 65"/>
                <a:gd name="T1" fmla="*/ 0 h 13"/>
                <a:gd name="T2" fmla="*/ 50 w 65"/>
                <a:gd name="T3" fmla="*/ 0 h 13"/>
                <a:gd name="T4" fmla="*/ 25 w 65"/>
                <a:gd name="T5" fmla="*/ 7 h 13"/>
                <a:gd name="T6" fmla="*/ 0 w 65"/>
                <a:gd name="T7" fmla="*/ 13 h 13"/>
                <a:gd name="T8" fmla="*/ 30 w 65"/>
                <a:gd name="T9" fmla="*/ 12 h 13"/>
                <a:gd name="T10" fmla="*/ 42 w 65"/>
                <a:gd name="T11" fmla="*/ 7 h 13"/>
                <a:gd name="T12" fmla="*/ 50 w 65"/>
                <a:gd name="T1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13">
                  <a:moveTo>
                    <a:pt x="50" y="0"/>
                  </a:moveTo>
                  <a:lnTo>
                    <a:pt x="50" y="0"/>
                  </a:lnTo>
                  <a:cubicBezTo>
                    <a:pt x="50" y="0"/>
                    <a:pt x="38" y="3"/>
                    <a:pt x="25" y="7"/>
                  </a:cubicBezTo>
                  <a:cubicBezTo>
                    <a:pt x="13" y="10"/>
                    <a:pt x="0" y="13"/>
                    <a:pt x="0" y="13"/>
                  </a:cubicBezTo>
                  <a:lnTo>
                    <a:pt x="30" y="12"/>
                  </a:lnTo>
                  <a:cubicBezTo>
                    <a:pt x="17" y="9"/>
                    <a:pt x="30" y="8"/>
                    <a:pt x="42" y="7"/>
                  </a:cubicBezTo>
                  <a:cubicBezTo>
                    <a:pt x="55" y="6"/>
                    <a:pt x="65" y="5"/>
                    <a:pt x="5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277">
              <a:extLst>
                <a:ext uri="{FF2B5EF4-FFF2-40B4-BE49-F238E27FC236}">
                  <a16:creationId xmlns:a16="http://schemas.microsoft.com/office/drawing/2014/main" id="{38C62553-1DEF-47FC-87C3-B76E2D8B07C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12" y="581"/>
              <a:ext cx="351" cy="682"/>
            </a:xfrm>
            <a:custGeom>
              <a:avLst/>
              <a:gdLst>
                <a:gd name="T0" fmla="*/ 1114 w 1911"/>
                <a:gd name="T1" fmla="*/ 1656 h 3728"/>
                <a:gd name="T2" fmla="*/ 1249 w 1911"/>
                <a:gd name="T3" fmla="*/ 3654 h 3728"/>
                <a:gd name="T4" fmla="*/ 720 w 1911"/>
                <a:gd name="T5" fmla="*/ 3644 h 3728"/>
                <a:gd name="T6" fmla="*/ 1333 w 1911"/>
                <a:gd name="T7" fmla="*/ 3376 h 3728"/>
                <a:gd name="T8" fmla="*/ 1249 w 1911"/>
                <a:gd name="T9" fmla="*/ 1339 h 3728"/>
                <a:gd name="T10" fmla="*/ 1062 w 1911"/>
                <a:gd name="T11" fmla="*/ 1454 h 3728"/>
                <a:gd name="T12" fmla="*/ 766 w 1911"/>
                <a:gd name="T13" fmla="*/ 1555 h 3728"/>
                <a:gd name="T14" fmla="*/ 642 w 1911"/>
                <a:gd name="T15" fmla="*/ 1795 h 3728"/>
                <a:gd name="T16" fmla="*/ 910 w 1911"/>
                <a:gd name="T17" fmla="*/ 2077 h 3728"/>
                <a:gd name="T18" fmla="*/ 1300 w 1911"/>
                <a:gd name="T19" fmla="*/ 2275 h 3728"/>
                <a:gd name="T20" fmla="*/ 1474 w 1911"/>
                <a:gd name="T21" fmla="*/ 2493 h 3728"/>
                <a:gd name="T22" fmla="*/ 1561 w 1911"/>
                <a:gd name="T23" fmla="*/ 2628 h 3728"/>
                <a:gd name="T24" fmla="*/ 1523 w 1911"/>
                <a:gd name="T25" fmla="*/ 2799 h 3728"/>
                <a:gd name="T26" fmla="*/ 1543 w 1911"/>
                <a:gd name="T27" fmla="*/ 2853 h 3728"/>
                <a:gd name="T28" fmla="*/ 1407 w 1911"/>
                <a:gd name="T29" fmla="*/ 2911 h 3728"/>
                <a:gd name="T30" fmla="*/ 1414 w 1911"/>
                <a:gd name="T31" fmla="*/ 3119 h 3728"/>
                <a:gd name="T32" fmla="*/ 1282 w 1911"/>
                <a:gd name="T33" fmla="*/ 3288 h 3728"/>
                <a:gd name="T34" fmla="*/ 1251 w 1911"/>
                <a:gd name="T35" fmla="*/ 3453 h 3728"/>
                <a:gd name="T36" fmla="*/ 1153 w 1911"/>
                <a:gd name="T37" fmla="*/ 3443 h 3728"/>
                <a:gd name="T38" fmla="*/ 803 w 1911"/>
                <a:gd name="T39" fmla="*/ 3447 h 3728"/>
                <a:gd name="T40" fmla="*/ 617 w 1911"/>
                <a:gd name="T41" fmla="*/ 3465 h 3728"/>
                <a:gd name="T42" fmla="*/ 351 w 1911"/>
                <a:gd name="T43" fmla="*/ 3462 h 3728"/>
                <a:gd name="T44" fmla="*/ 113 w 1911"/>
                <a:gd name="T45" fmla="*/ 3485 h 3728"/>
                <a:gd name="T46" fmla="*/ 265 w 1911"/>
                <a:gd name="T47" fmla="*/ 3518 h 3728"/>
                <a:gd name="T48" fmla="*/ 496 w 1911"/>
                <a:gd name="T49" fmla="*/ 3561 h 3728"/>
                <a:gd name="T50" fmla="*/ 688 w 1911"/>
                <a:gd name="T51" fmla="*/ 3655 h 3728"/>
                <a:gd name="T52" fmla="*/ 920 w 1911"/>
                <a:gd name="T53" fmla="*/ 3666 h 3728"/>
                <a:gd name="T54" fmla="*/ 1006 w 1911"/>
                <a:gd name="T55" fmla="*/ 3728 h 3728"/>
                <a:gd name="T56" fmla="*/ 1329 w 1911"/>
                <a:gd name="T57" fmla="*/ 3602 h 3728"/>
                <a:gd name="T58" fmla="*/ 1522 w 1911"/>
                <a:gd name="T59" fmla="*/ 3501 h 3728"/>
                <a:gd name="T60" fmla="*/ 1789 w 1911"/>
                <a:gd name="T61" fmla="*/ 3044 h 3728"/>
                <a:gd name="T62" fmla="*/ 1849 w 1911"/>
                <a:gd name="T63" fmla="*/ 2530 h 3728"/>
                <a:gd name="T64" fmla="*/ 1823 w 1911"/>
                <a:gd name="T65" fmla="*/ 2263 h 3728"/>
                <a:gd name="T66" fmla="*/ 1453 w 1911"/>
                <a:gd name="T67" fmla="*/ 1847 h 3728"/>
                <a:gd name="T68" fmla="*/ 1298 w 1911"/>
                <a:gd name="T69" fmla="*/ 1842 h 3728"/>
                <a:gd name="T70" fmla="*/ 1495 w 1911"/>
                <a:gd name="T71" fmla="*/ 1788 h 3728"/>
                <a:gd name="T72" fmla="*/ 1275 w 1911"/>
                <a:gd name="T73" fmla="*/ 1796 h 3728"/>
                <a:gd name="T74" fmla="*/ 1173 w 1911"/>
                <a:gd name="T75" fmla="*/ 1789 h 3728"/>
                <a:gd name="T76" fmla="*/ 1110 w 1911"/>
                <a:gd name="T77" fmla="*/ 1765 h 3728"/>
                <a:gd name="T78" fmla="*/ 1421 w 1911"/>
                <a:gd name="T79" fmla="*/ 1787 h 3728"/>
                <a:gd name="T80" fmla="*/ 1271 w 1911"/>
                <a:gd name="T81" fmla="*/ 1754 h 3728"/>
                <a:gd name="T82" fmla="*/ 1057 w 1911"/>
                <a:gd name="T83" fmla="*/ 1727 h 3728"/>
                <a:gd name="T84" fmla="*/ 1231 w 1911"/>
                <a:gd name="T85" fmla="*/ 1700 h 3728"/>
                <a:gd name="T86" fmla="*/ 1305 w 1911"/>
                <a:gd name="T87" fmla="*/ 1698 h 3728"/>
                <a:gd name="T88" fmla="*/ 1467 w 1911"/>
                <a:gd name="T89" fmla="*/ 1770 h 3728"/>
                <a:gd name="T90" fmla="*/ 1420 w 1911"/>
                <a:gd name="T91" fmla="*/ 1684 h 3728"/>
                <a:gd name="T92" fmla="*/ 1627 w 1911"/>
                <a:gd name="T93" fmla="*/ 1500 h 3728"/>
                <a:gd name="T94" fmla="*/ 1714 w 1911"/>
                <a:gd name="T95" fmla="*/ 1352 h 3728"/>
                <a:gd name="T96" fmla="*/ 1788 w 1911"/>
                <a:gd name="T97" fmla="*/ 1200 h 3728"/>
                <a:gd name="T98" fmla="*/ 1775 w 1911"/>
                <a:gd name="T99" fmla="*/ 603 h 3728"/>
                <a:gd name="T100" fmla="*/ 1354 w 1911"/>
                <a:gd name="T101" fmla="*/ 134 h 3728"/>
                <a:gd name="T102" fmla="*/ 979 w 1911"/>
                <a:gd name="T103" fmla="*/ 30 h 3728"/>
                <a:gd name="T104" fmla="*/ 709 w 1911"/>
                <a:gd name="T105" fmla="*/ 105 h 3728"/>
                <a:gd name="T106" fmla="*/ 308 w 1911"/>
                <a:gd name="T107" fmla="*/ 371 h 3728"/>
                <a:gd name="T108" fmla="*/ 78 w 1911"/>
                <a:gd name="T109" fmla="*/ 449 h 3728"/>
                <a:gd name="T110" fmla="*/ 696 w 1911"/>
                <a:gd name="T111" fmla="*/ 469 h 3728"/>
                <a:gd name="T112" fmla="*/ 1245 w 1911"/>
                <a:gd name="T113" fmla="*/ 459 h 3728"/>
                <a:gd name="T114" fmla="*/ 1444 w 1911"/>
                <a:gd name="T115" fmla="*/ 553 h 3728"/>
                <a:gd name="T116" fmla="*/ 1401 w 1911"/>
                <a:gd name="T117" fmla="*/ 689 h 3728"/>
                <a:gd name="T118" fmla="*/ 1424 w 1911"/>
                <a:gd name="T119" fmla="*/ 872 h 3728"/>
                <a:gd name="T120" fmla="*/ 1506 w 1911"/>
                <a:gd name="T121" fmla="*/ 1101 h 3728"/>
                <a:gd name="T122" fmla="*/ 1395 w 1911"/>
                <a:gd name="T123" fmla="*/ 1214 h 3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11" h="3728">
                  <a:moveTo>
                    <a:pt x="1114" y="1656"/>
                  </a:moveTo>
                  <a:lnTo>
                    <a:pt x="1114" y="1656"/>
                  </a:lnTo>
                  <a:cubicBezTo>
                    <a:pt x="1126" y="1661"/>
                    <a:pt x="1138" y="1667"/>
                    <a:pt x="1150" y="1672"/>
                  </a:cubicBezTo>
                  <a:cubicBezTo>
                    <a:pt x="1157" y="1675"/>
                    <a:pt x="1160" y="1676"/>
                    <a:pt x="1165" y="1678"/>
                  </a:cubicBezTo>
                  <a:cubicBezTo>
                    <a:pt x="1169" y="1679"/>
                    <a:pt x="1174" y="1681"/>
                    <a:pt x="1179" y="1682"/>
                  </a:cubicBezTo>
                  <a:cubicBezTo>
                    <a:pt x="1178" y="1682"/>
                    <a:pt x="1176" y="1682"/>
                    <a:pt x="1175" y="1682"/>
                  </a:cubicBezTo>
                  <a:cubicBezTo>
                    <a:pt x="1184" y="1683"/>
                    <a:pt x="1191" y="1685"/>
                    <a:pt x="1194" y="1687"/>
                  </a:cubicBezTo>
                  <a:cubicBezTo>
                    <a:pt x="1205" y="1685"/>
                    <a:pt x="1216" y="1684"/>
                    <a:pt x="1215" y="1680"/>
                  </a:cubicBezTo>
                  <a:cubicBezTo>
                    <a:pt x="1200" y="1674"/>
                    <a:pt x="1189" y="1668"/>
                    <a:pt x="1181" y="1664"/>
                  </a:cubicBezTo>
                  <a:cubicBezTo>
                    <a:pt x="1171" y="1659"/>
                    <a:pt x="1163" y="1655"/>
                    <a:pt x="1157" y="1653"/>
                  </a:cubicBezTo>
                  <a:cubicBezTo>
                    <a:pt x="1145" y="1648"/>
                    <a:pt x="1136" y="1648"/>
                    <a:pt x="1114" y="1656"/>
                  </a:cubicBezTo>
                  <a:lnTo>
                    <a:pt x="1114" y="1656"/>
                  </a:lnTo>
                  <a:close/>
                  <a:moveTo>
                    <a:pt x="1247" y="1843"/>
                  </a:moveTo>
                  <a:lnTo>
                    <a:pt x="1247" y="1843"/>
                  </a:lnTo>
                  <a:cubicBezTo>
                    <a:pt x="1263" y="1844"/>
                    <a:pt x="1295" y="1842"/>
                    <a:pt x="1305" y="1834"/>
                  </a:cubicBezTo>
                  <a:cubicBezTo>
                    <a:pt x="1292" y="1835"/>
                    <a:pt x="1293" y="1833"/>
                    <a:pt x="1293" y="1832"/>
                  </a:cubicBezTo>
                  <a:cubicBezTo>
                    <a:pt x="1293" y="1830"/>
                    <a:pt x="1292" y="1829"/>
                    <a:pt x="1273" y="1831"/>
                  </a:cubicBezTo>
                  <a:cubicBezTo>
                    <a:pt x="1274" y="1831"/>
                    <a:pt x="1274" y="1831"/>
                    <a:pt x="1275" y="1830"/>
                  </a:cubicBezTo>
                  <a:cubicBezTo>
                    <a:pt x="1259" y="1836"/>
                    <a:pt x="1246" y="1842"/>
                    <a:pt x="1247" y="1843"/>
                  </a:cubicBezTo>
                  <a:lnTo>
                    <a:pt x="1247" y="1843"/>
                  </a:lnTo>
                  <a:close/>
                  <a:moveTo>
                    <a:pt x="1249" y="3654"/>
                  </a:moveTo>
                  <a:lnTo>
                    <a:pt x="1249" y="3654"/>
                  </a:lnTo>
                  <a:cubicBezTo>
                    <a:pt x="1262" y="3668"/>
                    <a:pt x="1289" y="3657"/>
                    <a:pt x="1305" y="3647"/>
                  </a:cubicBezTo>
                  <a:cubicBezTo>
                    <a:pt x="1296" y="3648"/>
                    <a:pt x="1279" y="3649"/>
                    <a:pt x="1249" y="3654"/>
                  </a:cubicBezTo>
                  <a:lnTo>
                    <a:pt x="1249" y="3654"/>
                  </a:lnTo>
                  <a:close/>
                  <a:moveTo>
                    <a:pt x="889" y="3621"/>
                  </a:moveTo>
                  <a:lnTo>
                    <a:pt x="889" y="3621"/>
                  </a:lnTo>
                  <a:cubicBezTo>
                    <a:pt x="892" y="3630"/>
                    <a:pt x="896" y="3634"/>
                    <a:pt x="901" y="3637"/>
                  </a:cubicBezTo>
                  <a:cubicBezTo>
                    <a:pt x="898" y="3627"/>
                    <a:pt x="895" y="3618"/>
                    <a:pt x="889" y="3621"/>
                  </a:cubicBezTo>
                  <a:lnTo>
                    <a:pt x="889" y="3621"/>
                  </a:lnTo>
                  <a:close/>
                  <a:moveTo>
                    <a:pt x="716" y="3653"/>
                  </a:moveTo>
                  <a:lnTo>
                    <a:pt x="716" y="3653"/>
                  </a:lnTo>
                  <a:cubicBezTo>
                    <a:pt x="717" y="3650"/>
                    <a:pt x="719" y="3647"/>
                    <a:pt x="720" y="3644"/>
                  </a:cubicBezTo>
                  <a:cubicBezTo>
                    <a:pt x="720" y="3644"/>
                    <a:pt x="720" y="3644"/>
                    <a:pt x="720" y="3644"/>
                  </a:cubicBezTo>
                  <a:lnTo>
                    <a:pt x="716" y="3653"/>
                  </a:lnTo>
                  <a:lnTo>
                    <a:pt x="716" y="3653"/>
                  </a:lnTo>
                  <a:close/>
                  <a:moveTo>
                    <a:pt x="1293" y="3416"/>
                  </a:moveTo>
                  <a:lnTo>
                    <a:pt x="1293" y="3416"/>
                  </a:lnTo>
                  <a:cubicBezTo>
                    <a:pt x="1288" y="3430"/>
                    <a:pt x="1284" y="3432"/>
                    <a:pt x="1281" y="3429"/>
                  </a:cubicBezTo>
                  <a:cubicBezTo>
                    <a:pt x="1277" y="3427"/>
                    <a:pt x="1274" y="3420"/>
                    <a:pt x="1271" y="3416"/>
                  </a:cubicBezTo>
                  <a:cubicBezTo>
                    <a:pt x="1283" y="3414"/>
                    <a:pt x="1289" y="3408"/>
                    <a:pt x="1295" y="3402"/>
                  </a:cubicBezTo>
                  <a:cubicBezTo>
                    <a:pt x="1301" y="3396"/>
                    <a:pt x="1305" y="3391"/>
                    <a:pt x="1318" y="3386"/>
                  </a:cubicBezTo>
                  <a:cubicBezTo>
                    <a:pt x="1310" y="3384"/>
                    <a:pt x="1301" y="3378"/>
                    <a:pt x="1296" y="3374"/>
                  </a:cubicBezTo>
                  <a:cubicBezTo>
                    <a:pt x="1302" y="3369"/>
                    <a:pt x="1315" y="3367"/>
                    <a:pt x="1333" y="3376"/>
                  </a:cubicBezTo>
                  <a:cubicBezTo>
                    <a:pt x="1338" y="3384"/>
                    <a:pt x="1337" y="3391"/>
                    <a:pt x="1332" y="3397"/>
                  </a:cubicBezTo>
                  <a:cubicBezTo>
                    <a:pt x="1330" y="3400"/>
                    <a:pt x="1326" y="3402"/>
                    <a:pt x="1323" y="3404"/>
                  </a:cubicBezTo>
                  <a:cubicBezTo>
                    <a:pt x="1319" y="3406"/>
                    <a:pt x="1315" y="3408"/>
                    <a:pt x="1311" y="3409"/>
                  </a:cubicBezTo>
                  <a:cubicBezTo>
                    <a:pt x="1296" y="3413"/>
                    <a:pt x="1282" y="3411"/>
                    <a:pt x="1293" y="3416"/>
                  </a:cubicBezTo>
                  <a:lnTo>
                    <a:pt x="1293" y="3416"/>
                  </a:lnTo>
                  <a:close/>
                  <a:moveTo>
                    <a:pt x="1074" y="3453"/>
                  </a:moveTo>
                  <a:lnTo>
                    <a:pt x="1074" y="3453"/>
                  </a:lnTo>
                  <a:lnTo>
                    <a:pt x="1079" y="3458"/>
                  </a:lnTo>
                  <a:cubicBezTo>
                    <a:pt x="1068" y="3465"/>
                    <a:pt x="1062" y="3471"/>
                    <a:pt x="1074" y="3453"/>
                  </a:cubicBezTo>
                  <a:lnTo>
                    <a:pt x="1074" y="3453"/>
                  </a:lnTo>
                  <a:close/>
                  <a:moveTo>
                    <a:pt x="1249" y="1339"/>
                  </a:moveTo>
                  <a:lnTo>
                    <a:pt x="1249" y="1339"/>
                  </a:lnTo>
                  <a:lnTo>
                    <a:pt x="1231" y="1325"/>
                  </a:lnTo>
                  <a:cubicBezTo>
                    <a:pt x="1232" y="1341"/>
                    <a:pt x="1226" y="1351"/>
                    <a:pt x="1218" y="1359"/>
                  </a:cubicBezTo>
                  <a:cubicBezTo>
                    <a:pt x="1214" y="1363"/>
                    <a:pt x="1209" y="1366"/>
                    <a:pt x="1204" y="1368"/>
                  </a:cubicBezTo>
                  <a:lnTo>
                    <a:pt x="1201" y="1371"/>
                  </a:lnTo>
                  <a:lnTo>
                    <a:pt x="1191" y="1377"/>
                  </a:lnTo>
                  <a:cubicBezTo>
                    <a:pt x="1185" y="1380"/>
                    <a:pt x="1178" y="1384"/>
                    <a:pt x="1172" y="1388"/>
                  </a:cubicBezTo>
                  <a:cubicBezTo>
                    <a:pt x="1158" y="1395"/>
                    <a:pt x="1144" y="1402"/>
                    <a:pt x="1131" y="1409"/>
                  </a:cubicBezTo>
                  <a:cubicBezTo>
                    <a:pt x="1124" y="1412"/>
                    <a:pt x="1118" y="1416"/>
                    <a:pt x="1112" y="1420"/>
                  </a:cubicBezTo>
                  <a:cubicBezTo>
                    <a:pt x="1106" y="1424"/>
                    <a:pt x="1100" y="1428"/>
                    <a:pt x="1094" y="1431"/>
                  </a:cubicBezTo>
                  <a:cubicBezTo>
                    <a:pt x="1081" y="1438"/>
                    <a:pt x="1070" y="1446"/>
                    <a:pt x="1062" y="1454"/>
                  </a:cubicBezTo>
                  <a:cubicBezTo>
                    <a:pt x="1058" y="1458"/>
                    <a:pt x="1054" y="1463"/>
                    <a:pt x="1051" y="1467"/>
                  </a:cubicBezTo>
                  <a:cubicBezTo>
                    <a:pt x="1050" y="1470"/>
                    <a:pt x="1048" y="1472"/>
                    <a:pt x="1047" y="1474"/>
                  </a:cubicBezTo>
                  <a:cubicBezTo>
                    <a:pt x="1046" y="1477"/>
                    <a:pt x="1045" y="1479"/>
                    <a:pt x="1044" y="1481"/>
                  </a:cubicBezTo>
                  <a:cubicBezTo>
                    <a:pt x="1015" y="1481"/>
                    <a:pt x="991" y="1482"/>
                    <a:pt x="973" y="1484"/>
                  </a:cubicBezTo>
                  <a:cubicBezTo>
                    <a:pt x="955" y="1486"/>
                    <a:pt x="942" y="1489"/>
                    <a:pt x="933" y="1493"/>
                  </a:cubicBezTo>
                  <a:cubicBezTo>
                    <a:pt x="914" y="1500"/>
                    <a:pt x="912" y="1510"/>
                    <a:pt x="912" y="1519"/>
                  </a:cubicBezTo>
                  <a:cubicBezTo>
                    <a:pt x="912" y="1524"/>
                    <a:pt x="913" y="1529"/>
                    <a:pt x="912" y="1533"/>
                  </a:cubicBezTo>
                  <a:cubicBezTo>
                    <a:pt x="910" y="1537"/>
                    <a:pt x="909" y="1542"/>
                    <a:pt x="898" y="1544"/>
                  </a:cubicBezTo>
                  <a:cubicBezTo>
                    <a:pt x="878" y="1549"/>
                    <a:pt x="844" y="1551"/>
                    <a:pt x="761" y="1547"/>
                  </a:cubicBezTo>
                  <a:lnTo>
                    <a:pt x="788" y="1553"/>
                  </a:lnTo>
                  <a:cubicBezTo>
                    <a:pt x="783" y="1554"/>
                    <a:pt x="774" y="1554"/>
                    <a:pt x="766" y="1555"/>
                  </a:cubicBezTo>
                  <a:cubicBezTo>
                    <a:pt x="758" y="1555"/>
                    <a:pt x="750" y="1555"/>
                    <a:pt x="741" y="1556"/>
                  </a:cubicBezTo>
                  <a:cubicBezTo>
                    <a:pt x="738" y="1568"/>
                    <a:pt x="734" y="1582"/>
                    <a:pt x="730" y="1594"/>
                  </a:cubicBezTo>
                  <a:cubicBezTo>
                    <a:pt x="727" y="1604"/>
                    <a:pt x="723" y="1615"/>
                    <a:pt x="719" y="1625"/>
                  </a:cubicBezTo>
                  <a:cubicBezTo>
                    <a:pt x="718" y="1631"/>
                    <a:pt x="716" y="1634"/>
                    <a:pt x="714" y="1639"/>
                  </a:cubicBezTo>
                  <a:lnTo>
                    <a:pt x="709" y="1651"/>
                  </a:lnTo>
                  <a:cubicBezTo>
                    <a:pt x="705" y="1660"/>
                    <a:pt x="702" y="1667"/>
                    <a:pt x="698" y="1674"/>
                  </a:cubicBezTo>
                  <a:cubicBezTo>
                    <a:pt x="685" y="1702"/>
                    <a:pt x="673" y="1726"/>
                    <a:pt x="664" y="1745"/>
                  </a:cubicBezTo>
                  <a:cubicBezTo>
                    <a:pt x="654" y="1764"/>
                    <a:pt x="648" y="1774"/>
                    <a:pt x="642" y="1778"/>
                  </a:cubicBezTo>
                  <a:cubicBezTo>
                    <a:pt x="637" y="1783"/>
                    <a:pt x="633" y="1784"/>
                    <a:pt x="629" y="1786"/>
                  </a:cubicBezTo>
                  <a:cubicBezTo>
                    <a:pt x="634" y="1788"/>
                    <a:pt x="639" y="1790"/>
                    <a:pt x="651" y="1795"/>
                  </a:cubicBezTo>
                  <a:lnTo>
                    <a:pt x="642" y="1795"/>
                  </a:lnTo>
                  <a:cubicBezTo>
                    <a:pt x="643" y="1799"/>
                    <a:pt x="644" y="1804"/>
                    <a:pt x="645" y="1813"/>
                  </a:cubicBezTo>
                  <a:cubicBezTo>
                    <a:pt x="646" y="1822"/>
                    <a:pt x="647" y="1834"/>
                    <a:pt x="647" y="1852"/>
                  </a:cubicBezTo>
                  <a:cubicBezTo>
                    <a:pt x="650" y="1916"/>
                    <a:pt x="652" y="1979"/>
                    <a:pt x="655" y="2041"/>
                  </a:cubicBezTo>
                  <a:lnTo>
                    <a:pt x="730" y="2046"/>
                  </a:lnTo>
                  <a:lnTo>
                    <a:pt x="768" y="2049"/>
                  </a:lnTo>
                  <a:cubicBezTo>
                    <a:pt x="771" y="2049"/>
                    <a:pt x="775" y="2049"/>
                    <a:pt x="777" y="2050"/>
                  </a:cubicBezTo>
                  <a:lnTo>
                    <a:pt x="783" y="2051"/>
                  </a:lnTo>
                  <a:lnTo>
                    <a:pt x="796" y="2054"/>
                  </a:lnTo>
                  <a:lnTo>
                    <a:pt x="899" y="2073"/>
                  </a:lnTo>
                  <a:cubicBezTo>
                    <a:pt x="901" y="2074"/>
                    <a:pt x="903" y="2074"/>
                    <a:pt x="905" y="2075"/>
                  </a:cubicBezTo>
                  <a:lnTo>
                    <a:pt x="910" y="2077"/>
                  </a:lnTo>
                  <a:lnTo>
                    <a:pt x="920" y="2080"/>
                  </a:lnTo>
                  <a:lnTo>
                    <a:pt x="977" y="2102"/>
                  </a:lnTo>
                  <a:cubicBezTo>
                    <a:pt x="1003" y="2111"/>
                    <a:pt x="1027" y="2122"/>
                    <a:pt x="1051" y="2132"/>
                  </a:cubicBezTo>
                  <a:lnTo>
                    <a:pt x="1087" y="2148"/>
                  </a:lnTo>
                  <a:cubicBezTo>
                    <a:pt x="1093" y="2151"/>
                    <a:pt x="1100" y="2153"/>
                    <a:pt x="1105" y="2156"/>
                  </a:cubicBezTo>
                  <a:lnTo>
                    <a:pt x="1190" y="2199"/>
                  </a:lnTo>
                  <a:cubicBezTo>
                    <a:pt x="1195" y="2201"/>
                    <a:pt x="1201" y="2205"/>
                    <a:pt x="1206" y="2208"/>
                  </a:cubicBezTo>
                  <a:lnTo>
                    <a:pt x="1218" y="2216"/>
                  </a:lnTo>
                  <a:lnTo>
                    <a:pt x="1230" y="2223"/>
                  </a:lnTo>
                  <a:cubicBezTo>
                    <a:pt x="1239" y="2228"/>
                    <a:pt x="1247" y="2234"/>
                    <a:pt x="1254" y="2240"/>
                  </a:cubicBezTo>
                  <a:cubicBezTo>
                    <a:pt x="1270" y="2251"/>
                    <a:pt x="1285" y="2263"/>
                    <a:pt x="1300" y="2275"/>
                  </a:cubicBezTo>
                  <a:cubicBezTo>
                    <a:pt x="1313" y="2287"/>
                    <a:pt x="1328" y="2300"/>
                    <a:pt x="1340" y="2313"/>
                  </a:cubicBezTo>
                  <a:cubicBezTo>
                    <a:pt x="1354" y="2327"/>
                    <a:pt x="1365" y="2341"/>
                    <a:pt x="1376" y="2355"/>
                  </a:cubicBezTo>
                  <a:cubicBezTo>
                    <a:pt x="1386" y="2370"/>
                    <a:pt x="1397" y="2384"/>
                    <a:pt x="1405" y="2399"/>
                  </a:cubicBezTo>
                  <a:cubicBezTo>
                    <a:pt x="1429" y="2409"/>
                    <a:pt x="1453" y="2379"/>
                    <a:pt x="1478" y="2388"/>
                  </a:cubicBezTo>
                  <a:cubicBezTo>
                    <a:pt x="1481" y="2396"/>
                    <a:pt x="1492" y="2412"/>
                    <a:pt x="1475" y="2421"/>
                  </a:cubicBezTo>
                  <a:cubicBezTo>
                    <a:pt x="1457" y="2412"/>
                    <a:pt x="1446" y="2428"/>
                    <a:pt x="1437" y="2427"/>
                  </a:cubicBezTo>
                  <a:cubicBezTo>
                    <a:pt x="1439" y="2430"/>
                    <a:pt x="1440" y="2433"/>
                    <a:pt x="1442" y="2436"/>
                  </a:cubicBezTo>
                  <a:cubicBezTo>
                    <a:pt x="1443" y="2439"/>
                    <a:pt x="1443" y="2442"/>
                    <a:pt x="1444" y="2445"/>
                  </a:cubicBezTo>
                  <a:cubicBezTo>
                    <a:pt x="1446" y="2452"/>
                    <a:pt x="1447" y="2459"/>
                    <a:pt x="1449" y="2466"/>
                  </a:cubicBezTo>
                  <a:cubicBezTo>
                    <a:pt x="1452" y="2479"/>
                    <a:pt x="1456" y="2491"/>
                    <a:pt x="1471" y="2497"/>
                  </a:cubicBezTo>
                  <a:cubicBezTo>
                    <a:pt x="1471" y="2497"/>
                    <a:pt x="1472" y="2495"/>
                    <a:pt x="1474" y="2493"/>
                  </a:cubicBezTo>
                  <a:cubicBezTo>
                    <a:pt x="1476" y="2491"/>
                    <a:pt x="1478" y="2488"/>
                    <a:pt x="1480" y="2484"/>
                  </a:cubicBezTo>
                  <a:cubicBezTo>
                    <a:pt x="1484" y="2478"/>
                    <a:pt x="1489" y="2471"/>
                    <a:pt x="1489" y="2471"/>
                  </a:cubicBezTo>
                  <a:cubicBezTo>
                    <a:pt x="1495" y="2473"/>
                    <a:pt x="1498" y="2479"/>
                    <a:pt x="1500" y="2484"/>
                  </a:cubicBezTo>
                  <a:cubicBezTo>
                    <a:pt x="1501" y="2490"/>
                    <a:pt x="1500" y="2496"/>
                    <a:pt x="1501" y="2500"/>
                  </a:cubicBezTo>
                  <a:cubicBezTo>
                    <a:pt x="1487" y="2500"/>
                    <a:pt x="1464" y="2519"/>
                    <a:pt x="1456" y="2514"/>
                  </a:cubicBezTo>
                  <a:cubicBezTo>
                    <a:pt x="1493" y="2526"/>
                    <a:pt x="1487" y="2538"/>
                    <a:pt x="1478" y="2547"/>
                  </a:cubicBezTo>
                  <a:cubicBezTo>
                    <a:pt x="1473" y="2552"/>
                    <a:pt x="1467" y="2557"/>
                    <a:pt x="1464" y="2562"/>
                  </a:cubicBezTo>
                  <a:cubicBezTo>
                    <a:pt x="1461" y="2568"/>
                    <a:pt x="1460" y="2574"/>
                    <a:pt x="1468" y="2582"/>
                  </a:cubicBezTo>
                  <a:cubicBezTo>
                    <a:pt x="1481" y="2582"/>
                    <a:pt x="1495" y="2585"/>
                    <a:pt x="1508" y="2591"/>
                  </a:cubicBezTo>
                  <a:cubicBezTo>
                    <a:pt x="1520" y="2596"/>
                    <a:pt x="1532" y="2604"/>
                    <a:pt x="1544" y="2613"/>
                  </a:cubicBezTo>
                  <a:cubicBezTo>
                    <a:pt x="1550" y="2618"/>
                    <a:pt x="1555" y="2623"/>
                    <a:pt x="1561" y="2628"/>
                  </a:cubicBezTo>
                  <a:cubicBezTo>
                    <a:pt x="1566" y="2633"/>
                    <a:pt x="1571" y="2639"/>
                    <a:pt x="1576" y="2645"/>
                  </a:cubicBezTo>
                  <a:cubicBezTo>
                    <a:pt x="1586" y="2656"/>
                    <a:pt x="1596" y="2668"/>
                    <a:pt x="1604" y="2679"/>
                  </a:cubicBezTo>
                  <a:lnTo>
                    <a:pt x="1588" y="2699"/>
                  </a:lnTo>
                  <a:cubicBezTo>
                    <a:pt x="1590" y="2685"/>
                    <a:pt x="1580" y="2684"/>
                    <a:pt x="1571" y="2683"/>
                  </a:cubicBezTo>
                  <a:cubicBezTo>
                    <a:pt x="1561" y="2681"/>
                    <a:pt x="1553" y="2679"/>
                    <a:pt x="1555" y="2663"/>
                  </a:cubicBezTo>
                  <a:cubicBezTo>
                    <a:pt x="1547" y="2675"/>
                    <a:pt x="1546" y="2689"/>
                    <a:pt x="1548" y="2702"/>
                  </a:cubicBezTo>
                  <a:cubicBezTo>
                    <a:pt x="1550" y="2715"/>
                    <a:pt x="1550" y="2729"/>
                    <a:pt x="1543" y="2742"/>
                  </a:cubicBezTo>
                  <a:cubicBezTo>
                    <a:pt x="1557" y="2739"/>
                    <a:pt x="1575" y="2743"/>
                    <a:pt x="1579" y="2756"/>
                  </a:cubicBezTo>
                  <a:cubicBezTo>
                    <a:pt x="1568" y="2771"/>
                    <a:pt x="1541" y="2767"/>
                    <a:pt x="1534" y="2785"/>
                  </a:cubicBezTo>
                  <a:lnTo>
                    <a:pt x="1522" y="2763"/>
                  </a:lnTo>
                  <a:cubicBezTo>
                    <a:pt x="1499" y="2770"/>
                    <a:pt x="1523" y="2787"/>
                    <a:pt x="1523" y="2799"/>
                  </a:cubicBezTo>
                  <a:cubicBezTo>
                    <a:pt x="1500" y="2797"/>
                    <a:pt x="1488" y="2823"/>
                    <a:pt x="1465" y="2810"/>
                  </a:cubicBezTo>
                  <a:cubicBezTo>
                    <a:pt x="1471" y="2819"/>
                    <a:pt x="1474" y="2825"/>
                    <a:pt x="1475" y="2831"/>
                  </a:cubicBezTo>
                  <a:cubicBezTo>
                    <a:pt x="1476" y="2836"/>
                    <a:pt x="1476" y="2841"/>
                    <a:pt x="1476" y="2846"/>
                  </a:cubicBezTo>
                  <a:cubicBezTo>
                    <a:pt x="1474" y="2855"/>
                    <a:pt x="1472" y="2864"/>
                    <a:pt x="1476" y="2881"/>
                  </a:cubicBezTo>
                  <a:cubicBezTo>
                    <a:pt x="1508" y="2861"/>
                    <a:pt x="1501" y="2898"/>
                    <a:pt x="1519" y="2902"/>
                  </a:cubicBezTo>
                  <a:cubicBezTo>
                    <a:pt x="1519" y="2902"/>
                    <a:pt x="1520" y="2900"/>
                    <a:pt x="1520" y="2897"/>
                  </a:cubicBezTo>
                  <a:cubicBezTo>
                    <a:pt x="1520" y="2893"/>
                    <a:pt x="1521" y="2889"/>
                    <a:pt x="1521" y="2884"/>
                  </a:cubicBezTo>
                  <a:cubicBezTo>
                    <a:pt x="1522" y="2875"/>
                    <a:pt x="1523" y="2866"/>
                    <a:pt x="1523" y="2866"/>
                  </a:cubicBezTo>
                  <a:cubicBezTo>
                    <a:pt x="1492" y="2907"/>
                    <a:pt x="1525" y="2850"/>
                    <a:pt x="1487" y="2841"/>
                  </a:cubicBezTo>
                  <a:cubicBezTo>
                    <a:pt x="1499" y="2834"/>
                    <a:pt x="1512" y="2846"/>
                    <a:pt x="1522" y="2855"/>
                  </a:cubicBezTo>
                  <a:cubicBezTo>
                    <a:pt x="1532" y="2865"/>
                    <a:pt x="1540" y="2872"/>
                    <a:pt x="1543" y="2853"/>
                  </a:cubicBezTo>
                  <a:cubicBezTo>
                    <a:pt x="1545" y="2878"/>
                    <a:pt x="1541" y="2892"/>
                    <a:pt x="1538" y="2906"/>
                  </a:cubicBezTo>
                  <a:cubicBezTo>
                    <a:pt x="1534" y="2920"/>
                    <a:pt x="1532" y="2935"/>
                    <a:pt x="1537" y="2965"/>
                  </a:cubicBezTo>
                  <a:cubicBezTo>
                    <a:pt x="1542" y="2934"/>
                    <a:pt x="1558" y="2980"/>
                    <a:pt x="1575" y="2969"/>
                  </a:cubicBezTo>
                  <a:cubicBezTo>
                    <a:pt x="1560" y="3006"/>
                    <a:pt x="1558" y="2973"/>
                    <a:pt x="1531" y="2974"/>
                  </a:cubicBezTo>
                  <a:cubicBezTo>
                    <a:pt x="1523" y="2994"/>
                    <a:pt x="1501" y="2991"/>
                    <a:pt x="1518" y="3021"/>
                  </a:cubicBezTo>
                  <a:cubicBezTo>
                    <a:pt x="1492" y="3047"/>
                    <a:pt x="1494" y="3004"/>
                    <a:pt x="1472" y="3013"/>
                  </a:cubicBezTo>
                  <a:cubicBezTo>
                    <a:pt x="1463" y="3001"/>
                    <a:pt x="1481" y="2984"/>
                    <a:pt x="1490" y="2966"/>
                  </a:cubicBezTo>
                  <a:cubicBezTo>
                    <a:pt x="1499" y="2947"/>
                    <a:pt x="1500" y="2929"/>
                    <a:pt x="1460" y="2917"/>
                  </a:cubicBezTo>
                  <a:cubicBezTo>
                    <a:pt x="1465" y="2901"/>
                    <a:pt x="1443" y="2871"/>
                    <a:pt x="1452" y="2851"/>
                  </a:cubicBezTo>
                  <a:cubicBezTo>
                    <a:pt x="1443" y="2858"/>
                    <a:pt x="1430" y="2865"/>
                    <a:pt x="1420" y="2875"/>
                  </a:cubicBezTo>
                  <a:cubicBezTo>
                    <a:pt x="1409" y="2884"/>
                    <a:pt x="1403" y="2895"/>
                    <a:pt x="1407" y="2911"/>
                  </a:cubicBezTo>
                  <a:lnTo>
                    <a:pt x="1450" y="2931"/>
                  </a:lnTo>
                  <a:cubicBezTo>
                    <a:pt x="1443" y="2949"/>
                    <a:pt x="1470" y="2966"/>
                    <a:pt x="1460" y="2978"/>
                  </a:cubicBezTo>
                  <a:cubicBezTo>
                    <a:pt x="1451" y="2965"/>
                    <a:pt x="1427" y="2969"/>
                    <a:pt x="1424" y="2985"/>
                  </a:cubicBezTo>
                  <a:cubicBezTo>
                    <a:pt x="1432" y="2984"/>
                    <a:pt x="1433" y="2978"/>
                    <a:pt x="1440" y="2983"/>
                  </a:cubicBezTo>
                  <a:cubicBezTo>
                    <a:pt x="1430" y="3011"/>
                    <a:pt x="1457" y="3030"/>
                    <a:pt x="1448" y="3067"/>
                  </a:cubicBezTo>
                  <a:cubicBezTo>
                    <a:pt x="1473" y="3045"/>
                    <a:pt x="1488" y="3046"/>
                    <a:pt x="1520" y="3029"/>
                  </a:cubicBezTo>
                  <a:cubicBezTo>
                    <a:pt x="1546" y="3051"/>
                    <a:pt x="1515" y="3050"/>
                    <a:pt x="1511" y="3067"/>
                  </a:cubicBezTo>
                  <a:cubicBezTo>
                    <a:pt x="1508" y="3063"/>
                    <a:pt x="1509" y="3059"/>
                    <a:pt x="1501" y="3060"/>
                  </a:cubicBezTo>
                  <a:lnTo>
                    <a:pt x="1506" y="3084"/>
                  </a:lnTo>
                  <a:cubicBezTo>
                    <a:pt x="1475" y="3112"/>
                    <a:pt x="1466" y="3058"/>
                    <a:pt x="1437" y="3078"/>
                  </a:cubicBezTo>
                  <a:cubicBezTo>
                    <a:pt x="1402" y="3084"/>
                    <a:pt x="1436" y="3112"/>
                    <a:pt x="1414" y="3119"/>
                  </a:cubicBezTo>
                  <a:cubicBezTo>
                    <a:pt x="1417" y="3120"/>
                    <a:pt x="1421" y="3121"/>
                    <a:pt x="1423" y="3121"/>
                  </a:cubicBezTo>
                  <a:cubicBezTo>
                    <a:pt x="1421" y="3124"/>
                    <a:pt x="1419" y="3126"/>
                    <a:pt x="1417" y="3127"/>
                  </a:cubicBezTo>
                  <a:cubicBezTo>
                    <a:pt x="1418" y="3127"/>
                    <a:pt x="1418" y="3127"/>
                    <a:pt x="1419" y="3128"/>
                  </a:cubicBezTo>
                  <a:cubicBezTo>
                    <a:pt x="1413" y="3148"/>
                    <a:pt x="1399" y="3166"/>
                    <a:pt x="1418" y="3184"/>
                  </a:cubicBezTo>
                  <a:cubicBezTo>
                    <a:pt x="1407" y="3180"/>
                    <a:pt x="1412" y="3202"/>
                    <a:pt x="1415" y="3212"/>
                  </a:cubicBezTo>
                  <a:cubicBezTo>
                    <a:pt x="1417" y="3227"/>
                    <a:pt x="1428" y="3266"/>
                    <a:pt x="1384" y="3261"/>
                  </a:cubicBezTo>
                  <a:cubicBezTo>
                    <a:pt x="1384" y="3261"/>
                    <a:pt x="1385" y="3260"/>
                    <a:pt x="1385" y="3260"/>
                  </a:cubicBezTo>
                  <a:cubicBezTo>
                    <a:pt x="1367" y="3280"/>
                    <a:pt x="1345" y="3291"/>
                    <a:pt x="1337" y="3280"/>
                  </a:cubicBezTo>
                  <a:cubicBezTo>
                    <a:pt x="1337" y="3280"/>
                    <a:pt x="1329" y="3287"/>
                    <a:pt x="1322" y="3295"/>
                  </a:cubicBezTo>
                  <a:cubicBezTo>
                    <a:pt x="1314" y="3302"/>
                    <a:pt x="1307" y="3309"/>
                    <a:pt x="1307" y="3309"/>
                  </a:cubicBezTo>
                  <a:lnTo>
                    <a:pt x="1282" y="3288"/>
                  </a:lnTo>
                  <a:cubicBezTo>
                    <a:pt x="1277" y="3305"/>
                    <a:pt x="1279" y="3314"/>
                    <a:pt x="1283" y="3324"/>
                  </a:cubicBezTo>
                  <a:cubicBezTo>
                    <a:pt x="1288" y="3335"/>
                    <a:pt x="1297" y="3346"/>
                    <a:pt x="1304" y="3364"/>
                  </a:cubicBezTo>
                  <a:cubicBezTo>
                    <a:pt x="1296" y="3366"/>
                    <a:pt x="1291" y="3369"/>
                    <a:pt x="1286" y="3372"/>
                  </a:cubicBezTo>
                  <a:cubicBezTo>
                    <a:pt x="1282" y="3375"/>
                    <a:pt x="1279" y="3379"/>
                    <a:pt x="1276" y="3384"/>
                  </a:cubicBezTo>
                  <a:cubicBezTo>
                    <a:pt x="1271" y="3393"/>
                    <a:pt x="1267" y="3405"/>
                    <a:pt x="1265" y="3413"/>
                  </a:cubicBezTo>
                  <a:cubicBezTo>
                    <a:pt x="1264" y="3413"/>
                    <a:pt x="1262" y="3414"/>
                    <a:pt x="1260" y="3416"/>
                  </a:cubicBezTo>
                  <a:cubicBezTo>
                    <a:pt x="1259" y="3416"/>
                    <a:pt x="1258" y="3417"/>
                    <a:pt x="1257" y="3418"/>
                  </a:cubicBezTo>
                  <a:lnTo>
                    <a:pt x="1262" y="3420"/>
                  </a:lnTo>
                  <a:lnTo>
                    <a:pt x="1273" y="3424"/>
                  </a:lnTo>
                  <a:cubicBezTo>
                    <a:pt x="1270" y="3425"/>
                    <a:pt x="1268" y="3427"/>
                    <a:pt x="1267" y="3428"/>
                  </a:cubicBezTo>
                  <a:cubicBezTo>
                    <a:pt x="1257" y="3437"/>
                    <a:pt x="1263" y="3448"/>
                    <a:pt x="1251" y="3453"/>
                  </a:cubicBezTo>
                  <a:cubicBezTo>
                    <a:pt x="1255" y="3454"/>
                    <a:pt x="1256" y="3456"/>
                    <a:pt x="1247" y="3454"/>
                  </a:cubicBezTo>
                  <a:cubicBezTo>
                    <a:pt x="1244" y="3455"/>
                    <a:pt x="1241" y="3455"/>
                    <a:pt x="1238" y="3455"/>
                  </a:cubicBezTo>
                  <a:cubicBezTo>
                    <a:pt x="1237" y="3451"/>
                    <a:pt x="1241" y="3451"/>
                    <a:pt x="1244" y="3451"/>
                  </a:cubicBezTo>
                  <a:lnTo>
                    <a:pt x="1238" y="3442"/>
                  </a:lnTo>
                  <a:cubicBezTo>
                    <a:pt x="1224" y="3429"/>
                    <a:pt x="1221" y="3434"/>
                    <a:pt x="1217" y="3443"/>
                  </a:cubicBezTo>
                  <a:cubicBezTo>
                    <a:pt x="1213" y="3452"/>
                    <a:pt x="1206" y="3464"/>
                    <a:pt x="1194" y="3460"/>
                  </a:cubicBezTo>
                  <a:cubicBezTo>
                    <a:pt x="1196" y="3458"/>
                    <a:pt x="1199" y="3456"/>
                    <a:pt x="1202" y="3456"/>
                  </a:cubicBezTo>
                  <a:cubicBezTo>
                    <a:pt x="1188" y="3449"/>
                    <a:pt x="1167" y="3405"/>
                    <a:pt x="1164" y="3433"/>
                  </a:cubicBezTo>
                  <a:cubicBezTo>
                    <a:pt x="1161" y="3430"/>
                    <a:pt x="1157" y="3436"/>
                    <a:pt x="1153" y="3443"/>
                  </a:cubicBezTo>
                  <a:lnTo>
                    <a:pt x="1143" y="3439"/>
                  </a:lnTo>
                  <a:cubicBezTo>
                    <a:pt x="1147" y="3440"/>
                    <a:pt x="1150" y="3442"/>
                    <a:pt x="1153" y="3443"/>
                  </a:cubicBezTo>
                  <a:cubicBezTo>
                    <a:pt x="1148" y="3453"/>
                    <a:pt x="1142" y="3465"/>
                    <a:pt x="1141" y="3458"/>
                  </a:cubicBezTo>
                  <a:lnTo>
                    <a:pt x="1105" y="3453"/>
                  </a:lnTo>
                  <a:cubicBezTo>
                    <a:pt x="1098" y="3449"/>
                    <a:pt x="1088" y="3453"/>
                    <a:pt x="1080" y="3457"/>
                  </a:cubicBezTo>
                  <a:lnTo>
                    <a:pt x="1074" y="3444"/>
                  </a:lnTo>
                  <a:cubicBezTo>
                    <a:pt x="1060" y="3446"/>
                    <a:pt x="1060" y="3438"/>
                    <a:pt x="1061" y="3435"/>
                  </a:cubicBezTo>
                  <a:cubicBezTo>
                    <a:pt x="1013" y="3389"/>
                    <a:pt x="988" y="3460"/>
                    <a:pt x="936" y="3420"/>
                  </a:cubicBezTo>
                  <a:cubicBezTo>
                    <a:pt x="926" y="3442"/>
                    <a:pt x="947" y="3452"/>
                    <a:pt x="949" y="3464"/>
                  </a:cubicBezTo>
                  <a:cubicBezTo>
                    <a:pt x="941" y="3482"/>
                    <a:pt x="912" y="3497"/>
                    <a:pt x="897" y="3509"/>
                  </a:cubicBezTo>
                  <a:cubicBezTo>
                    <a:pt x="874" y="3479"/>
                    <a:pt x="804" y="3450"/>
                    <a:pt x="816" y="3406"/>
                  </a:cubicBezTo>
                  <a:cubicBezTo>
                    <a:pt x="775" y="3402"/>
                    <a:pt x="829" y="3433"/>
                    <a:pt x="808" y="3449"/>
                  </a:cubicBezTo>
                  <a:lnTo>
                    <a:pt x="803" y="3447"/>
                  </a:lnTo>
                  <a:cubicBezTo>
                    <a:pt x="817" y="3452"/>
                    <a:pt x="829" y="3468"/>
                    <a:pt x="837" y="3485"/>
                  </a:cubicBezTo>
                  <a:cubicBezTo>
                    <a:pt x="840" y="3509"/>
                    <a:pt x="802" y="3516"/>
                    <a:pt x="791" y="3509"/>
                  </a:cubicBezTo>
                  <a:lnTo>
                    <a:pt x="799" y="3474"/>
                  </a:lnTo>
                  <a:cubicBezTo>
                    <a:pt x="760" y="3485"/>
                    <a:pt x="767" y="3537"/>
                    <a:pt x="741" y="3571"/>
                  </a:cubicBezTo>
                  <a:cubicBezTo>
                    <a:pt x="710" y="3556"/>
                    <a:pt x="729" y="3526"/>
                    <a:pt x="724" y="3495"/>
                  </a:cubicBezTo>
                  <a:lnTo>
                    <a:pt x="691" y="3502"/>
                  </a:lnTo>
                  <a:lnTo>
                    <a:pt x="692" y="3476"/>
                  </a:lnTo>
                  <a:cubicBezTo>
                    <a:pt x="671" y="3482"/>
                    <a:pt x="664" y="3506"/>
                    <a:pt x="636" y="3494"/>
                  </a:cubicBezTo>
                  <a:cubicBezTo>
                    <a:pt x="658" y="3471"/>
                    <a:pt x="594" y="3467"/>
                    <a:pt x="625" y="3437"/>
                  </a:cubicBezTo>
                  <a:cubicBezTo>
                    <a:pt x="610" y="3427"/>
                    <a:pt x="601" y="3476"/>
                    <a:pt x="596" y="3441"/>
                  </a:cubicBezTo>
                  <a:cubicBezTo>
                    <a:pt x="582" y="3468"/>
                    <a:pt x="609" y="3456"/>
                    <a:pt x="617" y="3465"/>
                  </a:cubicBezTo>
                  <a:cubicBezTo>
                    <a:pt x="620" y="3505"/>
                    <a:pt x="580" y="3482"/>
                    <a:pt x="559" y="3490"/>
                  </a:cubicBezTo>
                  <a:cubicBezTo>
                    <a:pt x="560" y="3470"/>
                    <a:pt x="574" y="3467"/>
                    <a:pt x="553" y="3452"/>
                  </a:cubicBezTo>
                  <a:cubicBezTo>
                    <a:pt x="547" y="3467"/>
                    <a:pt x="531" y="3477"/>
                    <a:pt x="521" y="3457"/>
                  </a:cubicBezTo>
                  <a:cubicBezTo>
                    <a:pt x="518" y="3483"/>
                    <a:pt x="494" y="3460"/>
                    <a:pt x="482" y="3456"/>
                  </a:cubicBezTo>
                  <a:cubicBezTo>
                    <a:pt x="495" y="3463"/>
                    <a:pt x="514" y="3484"/>
                    <a:pt x="502" y="3505"/>
                  </a:cubicBezTo>
                  <a:cubicBezTo>
                    <a:pt x="490" y="3514"/>
                    <a:pt x="479" y="3518"/>
                    <a:pt x="454" y="3511"/>
                  </a:cubicBezTo>
                  <a:lnTo>
                    <a:pt x="470" y="3525"/>
                  </a:lnTo>
                  <a:cubicBezTo>
                    <a:pt x="442" y="3560"/>
                    <a:pt x="436" y="3494"/>
                    <a:pt x="404" y="3501"/>
                  </a:cubicBezTo>
                  <a:cubicBezTo>
                    <a:pt x="419" y="3488"/>
                    <a:pt x="427" y="3489"/>
                    <a:pt x="441" y="3472"/>
                  </a:cubicBezTo>
                  <a:cubicBezTo>
                    <a:pt x="425" y="3482"/>
                    <a:pt x="395" y="3496"/>
                    <a:pt x="370" y="3504"/>
                  </a:cubicBezTo>
                  <a:lnTo>
                    <a:pt x="351" y="3462"/>
                  </a:lnTo>
                  <a:cubicBezTo>
                    <a:pt x="344" y="3480"/>
                    <a:pt x="323" y="3454"/>
                    <a:pt x="318" y="3480"/>
                  </a:cubicBezTo>
                  <a:cubicBezTo>
                    <a:pt x="290" y="3456"/>
                    <a:pt x="349" y="3455"/>
                    <a:pt x="356" y="3437"/>
                  </a:cubicBezTo>
                  <a:cubicBezTo>
                    <a:pt x="321" y="3412"/>
                    <a:pt x="316" y="3472"/>
                    <a:pt x="287" y="3426"/>
                  </a:cubicBezTo>
                  <a:lnTo>
                    <a:pt x="305" y="3405"/>
                  </a:lnTo>
                  <a:cubicBezTo>
                    <a:pt x="293" y="3401"/>
                    <a:pt x="265" y="3408"/>
                    <a:pt x="267" y="3396"/>
                  </a:cubicBezTo>
                  <a:cubicBezTo>
                    <a:pt x="265" y="3404"/>
                    <a:pt x="271" y="3402"/>
                    <a:pt x="279" y="3404"/>
                  </a:cubicBezTo>
                  <a:cubicBezTo>
                    <a:pt x="259" y="3452"/>
                    <a:pt x="213" y="3424"/>
                    <a:pt x="203" y="3477"/>
                  </a:cubicBezTo>
                  <a:lnTo>
                    <a:pt x="220" y="3485"/>
                  </a:lnTo>
                  <a:cubicBezTo>
                    <a:pt x="190" y="3488"/>
                    <a:pt x="160" y="3516"/>
                    <a:pt x="145" y="3491"/>
                  </a:cubicBezTo>
                  <a:cubicBezTo>
                    <a:pt x="134" y="3470"/>
                    <a:pt x="167" y="3460"/>
                    <a:pt x="180" y="3450"/>
                  </a:cubicBezTo>
                  <a:cubicBezTo>
                    <a:pt x="157" y="3439"/>
                    <a:pt x="142" y="3499"/>
                    <a:pt x="113" y="3485"/>
                  </a:cubicBezTo>
                  <a:cubicBezTo>
                    <a:pt x="126" y="3498"/>
                    <a:pt x="117" y="3515"/>
                    <a:pt x="103" y="3525"/>
                  </a:cubicBezTo>
                  <a:cubicBezTo>
                    <a:pt x="120" y="3534"/>
                    <a:pt x="156" y="3556"/>
                    <a:pt x="155" y="3532"/>
                  </a:cubicBezTo>
                  <a:lnTo>
                    <a:pt x="150" y="3525"/>
                  </a:lnTo>
                  <a:cubicBezTo>
                    <a:pt x="156" y="3513"/>
                    <a:pt x="167" y="3511"/>
                    <a:pt x="174" y="3506"/>
                  </a:cubicBezTo>
                  <a:cubicBezTo>
                    <a:pt x="198" y="3513"/>
                    <a:pt x="179" y="3532"/>
                    <a:pt x="181" y="3544"/>
                  </a:cubicBezTo>
                  <a:cubicBezTo>
                    <a:pt x="220" y="3563"/>
                    <a:pt x="199" y="3493"/>
                    <a:pt x="236" y="3505"/>
                  </a:cubicBezTo>
                  <a:lnTo>
                    <a:pt x="238" y="3516"/>
                  </a:lnTo>
                  <a:cubicBezTo>
                    <a:pt x="259" y="3508"/>
                    <a:pt x="287" y="3512"/>
                    <a:pt x="299" y="3481"/>
                  </a:cubicBezTo>
                  <a:cubicBezTo>
                    <a:pt x="308" y="3518"/>
                    <a:pt x="343" y="3477"/>
                    <a:pt x="357" y="3500"/>
                  </a:cubicBezTo>
                  <a:cubicBezTo>
                    <a:pt x="352" y="3537"/>
                    <a:pt x="336" y="3533"/>
                    <a:pt x="318" y="3524"/>
                  </a:cubicBezTo>
                  <a:cubicBezTo>
                    <a:pt x="300" y="3514"/>
                    <a:pt x="281" y="3500"/>
                    <a:pt x="265" y="3518"/>
                  </a:cubicBezTo>
                  <a:cubicBezTo>
                    <a:pt x="282" y="3537"/>
                    <a:pt x="246" y="3550"/>
                    <a:pt x="233" y="3564"/>
                  </a:cubicBezTo>
                  <a:cubicBezTo>
                    <a:pt x="233" y="3564"/>
                    <a:pt x="251" y="3561"/>
                    <a:pt x="269" y="3556"/>
                  </a:cubicBezTo>
                  <a:cubicBezTo>
                    <a:pt x="286" y="3552"/>
                    <a:pt x="304" y="3547"/>
                    <a:pt x="304" y="3547"/>
                  </a:cubicBezTo>
                  <a:cubicBezTo>
                    <a:pt x="306" y="3558"/>
                    <a:pt x="318" y="3599"/>
                    <a:pt x="335" y="3574"/>
                  </a:cubicBezTo>
                  <a:lnTo>
                    <a:pt x="330" y="3572"/>
                  </a:lnTo>
                  <a:cubicBezTo>
                    <a:pt x="357" y="3568"/>
                    <a:pt x="356" y="3536"/>
                    <a:pt x="376" y="3550"/>
                  </a:cubicBezTo>
                  <a:cubicBezTo>
                    <a:pt x="378" y="3557"/>
                    <a:pt x="369" y="3568"/>
                    <a:pt x="366" y="3573"/>
                  </a:cubicBezTo>
                  <a:cubicBezTo>
                    <a:pt x="386" y="3583"/>
                    <a:pt x="386" y="3559"/>
                    <a:pt x="400" y="3554"/>
                  </a:cubicBezTo>
                  <a:cubicBezTo>
                    <a:pt x="419" y="3564"/>
                    <a:pt x="386" y="3583"/>
                    <a:pt x="401" y="3594"/>
                  </a:cubicBezTo>
                  <a:cubicBezTo>
                    <a:pt x="429" y="3569"/>
                    <a:pt x="437" y="3606"/>
                    <a:pt x="458" y="3607"/>
                  </a:cubicBezTo>
                  <a:cubicBezTo>
                    <a:pt x="457" y="3585"/>
                    <a:pt x="479" y="3574"/>
                    <a:pt x="496" y="3561"/>
                  </a:cubicBezTo>
                  <a:cubicBezTo>
                    <a:pt x="513" y="3549"/>
                    <a:pt x="525" y="3537"/>
                    <a:pt x="506" y="3516"/>
                  </a:cubicBezTo>
                  <a:lnTo>
                    <a:pt x="556" y="3492"/>
                  </a:lnTo>
                  <a:cubicBezTo>
                    <a:pt x="569" y="3515"/>
                    <a:pt x="518" y="3548"/>
                    <a:pt x="527" y="3585"/>
                  </a:cubicBezTo>
                  <a:lnTo>
                    <a:pt x="489" y="3580"/>
                  </a:lnTo>
                  <a:cubicBezTo>
                    <a:pt x="489" y="3607"/>
                    <a:pt x="510" y="3600"/>
                    <a:pt x="534" y="3594"/>
                  </a:cubicBezTo>
                  <a:cubicBezTo>
                    <a:pt x="557" y="3589"/>
                    <a:pt x="583" y="3584"/>
                    <a:pt x="594" y="3614"/>
                  </a:cubicBezTo>
                  <a:cubicBezTo>
                    <a:pt x="614" y="3618"/>
                    <a:pt x="609" y="3610"/>
                    <a:pt x="647" y="3639"/>
                  </a:cubicBezTo>
                  <a:lnTo>
                    <a:pt x="643" y="3591"/>
                  </a:lnTo>
                  <a:cubicBezTo>
                    <a:pt x="663" y="3603"/>
                    <a:pt x="668" y="3630"/>
                    <a:pt x="669" y="3638"/>
                  </a:cubicBezTo>
                  <a:cubicBezTo>
                    <a:pt x="681" y="3636"/>
                    <a:pt x="692" y="3637"/>
                    <a:pt x="703" y="3640"/>
                  </a:cubicBezTo>
                  <a:cubicBezTo>
                    <a:pt x="700" y="3647"/>
                    <a:pt x="695" y="3653"/>
                    <a:pt x="688" y="3655"/>
                  </a:cubicBezTo>
                  <a:cubicBezTo>
                    <a:pt x="702" y="3682"/>
                    <a:pt x="707" y="3673"/>
                    <a:pt x="713" y="3659"/>
                  </a:cubicBezTo>
                  <a:cubicBezTo>
                    <a:pt x="722" y="3647"/>
                    <a:pt x="734" y="3649"/>
                    <a:pt x="747" y="3650"/>
                  </a:cubicBezTo>
                  <a:lnTo>
                    <a:pt x="735" y="3667"/>
                  </a:lnTo>
                  <a:cubicBezTo>
                    <a:pt x="743" y="3664"/>
                    <a:pt x="753" y="3659"/>
                    <a:pt x="754" y="3650"/>
                  </a:cubicBezTo>
                  <a:cubicBezTo>
                    <a:pt x="759" y="3650"/>
                    <a:pt x="764" y="3649"/>
                    <a:pt x="769" y="3646"/>
                  </a:cubicBezTo>
                  <a:cubicBezTo>
                    <a:pt x="766" y="3638"/>
                    <a:pt x="758" y="3610"/>
                    <a:pt x="741" y="3597"/>
                  </a:cubicBezTo>
                  <a:cubicBezTo>
                    <a:pt x="787" y="3617"/>
                    <a:pt x="824" y="3607"/>
                    <a:pt x="864" y="3647"/>
                  </a:cubicBezTo>
                  <a:cubicBezTo>
                    <a:pt x="862" y="3661"/>
                    <a:pt x="845" y="3678"/>
                    <a:pt x="850" y="3680"/>
                  </a:cubicBezTo>
                  <a:cubicBezTo>
                    <a:pt x="871" y="3687"/>
                    <a:pt x="893" y="3662"/>
                    <a:pt x="891" y="3642"/>
                  </a:cubicBezTo>
                  <a:cubicBezTo>
                    <a:pt x="895" y="3641"/>
                    <a:pt x="899" y="3640"/>
                    <a:pt x="902" y="3640"/>
                  </a:cubicBezTo>
                  <a:cubicBezTo>
                    <a:pt x="906" y="3652"/>
                    <a:pt x="911" y="3664"/>
                    <a:pt x="920" y="3666"/>
                  </a:cubicBezTo>
                  <a:cubicBezTo>
                    <a:pt x="922" y="3671"/>
                    <a:pt x="926" y="3674"/>
                    <a:pt x="933" y="3676"/>
                  </a:cubicBezTo>
                  <a:cubicBezTo>
                    <a:pt x="939" y="3638"/>
                    <a:pt x="978" y="3657"/>
                    <a:pt x="986" y="3639"/>
                  </a:cubicBezTo>
                  <a:cubicBezTo>
                    <a:pt x="977" y="3636"/>
                    <a:pt x="966" y="3636"/>
                    <a:pt x="955" y="3637"/>
                  </a:cubicBezTo>
                  <a:cubicBezTo>
                    <a:pt x="971" y="3612"/>
                    <a:pt x="985" y="3583"/>
                    <a:pt x="997" y="3603"/>
                  </a:cubicBezTo>
                  <a:cubicBezTo>
                    <a:pt x="968" y="3628"/>
                    <a:pt x="1030" y="3642"/>
                    <a:pt x="985" y="3653"/>
                  </a:cubicBezTo>
                  <a:cubicBezTo>
                    <a:pt x="1017" y="3701"/>
                    <a:pt x="1001" y="3619"/>
                    <a:pt x="1034" y="3635"/>
                  </a:cubicBezTo>
                  <a:lnTo>
                    <a:pt x="1056" y="3654"/>
                  </a:lnTo>
                  <a:cubicBezTo>
                    <a:pt x="1053" y="3681"/>
                    <a:pt x="1022" y="3668"/>
                    <a:pt x="1027" y="3678"/>
                  </a:cubicBezTo>
                  <a:lnTo>
                    <a:pt x="1042" y="3675"/>
                  </a:lnTo>
                  <a:cubicBezTo>
                    <a:pt x="1027" y="3696"/>
                    <a:pt x="970" y="3683"/>
                    <a:pt x="935" y="3714"/>
                  </a:cubicBezTo>
                  <a:lnTo>
                    <a:pt x="1006" y="3728"/>
                  </a:lnTo>
                  <a:cubicBezTo>
                    <a:pt x="1028" y="3720"/>
                    <a:pt x="1051" y="3716"/>
                    <a:pt x="1075" y="3713"/>
                  </a:cubicBezTo>
                  <a:cubicBezTo>
                    <a:pt x="1099" y="3711"/>
                    <a:pt x="1123" y="3710"/>
                    <a:pt x="1151" y="3708"/>
                  </a:cubicBezTo>
                  <a:cubicBezTo>
                    <a:pt x="1178" y="3706"/>
                    <a:pt x="1208" y="3702"/>
                    <a:pt x="1237" y="3691"/>
                  </a:cubicBezTo>
                  <a:cubicBezTo>
                    <a:pt x="1244" y="3689"/>
                    <a:pt x="1251" y="3686"/>
                    <a:pt x="1259" y="3683"/>
                  </a:cubicBezTo>
                  <a:cubicBezTo>
                    <a:pt x="1266" y="3679"/>
                    <a:pt x="1274" y="3675"/>
                    <a:pt x="1281" y="3671"/>
                  </a:cubicBezTo>
                  <a:cubicBezTo>
                    <a:pt x="1295" y="3662"/>
                    <a:pt x="1307" y="3652"/>
                    <a:pt x="1318" y="3640"/>
                  </a:cubicBezTo>
                  <a:cubicBezTo>
                    <a:pt x="1316" y="3641"/>
                    <a:pt x="1315" y="3642"/>
                    <a:pt x="1313" y="3643"/>
                  </a:cubicBezTo>
                  <a:cubicBezTo>
                    <a:pt x="1314" y="3640"/>
                    <a:pt x="1313" y="3634"/>
                    <a:pt x="1311" y="3624"/>
                  </a:cubicBezTo>
                  <a:lnTo>
                    <a:pt x="1318" y="3629"/>
                  </a:lnTo>
                  <a:cubicBezTo>
                    <a:pt x="1318" y="3629"/>
                    <a:pt x="1321" y="3622"/>
                    <a:pt x="1324" y="3615"/>
                  </a:cubicBezTo>
                  <a:cubicBezTo>
                    <a:pt x="1326" y="3609"/>
                    <a:pt x="1329" y="3602"/>
                    <a:pt x="1329" y="3602"/>
                  </a:cubicBezTo>
                  <a:cubicBezTo>
                    <a:pt x="1341" y="3608"/>
                    <a:pt x="1356" y="3608"/>
                    <a:pt x="1373" y="3606"/>
                  </a:cubicBezTo>
                  <a:cubicBezTo>
                    <a:pt x="1396" y="3602"/>
                    <a:pt x="1420" y="3593"/>
                    <a:pt x="1447" y="3585"/>
                  </a:cubicBezTo>
                  <a:cubicBezTo>
                    <a:pt x="1416" y="3589"/>
                    <a:pt x="1416" y="3588"/>
                    <a:pt x="1402" y="3574"/>
                  </a:cubicBezTo>
                  <a:cubicBezTo>
                    <a:pt x="1389" y="3548"/>
                    <a:pt x="1384" y="3539"/>
                    <a:pt x="1414" y="3524"/>
                  </a:cubicBezTo>
                  <a:cubicBezTo>
                    <a:pt x="1428" y="3538"/>
                    <a:pt x="1412" y="3552"/>
                    <a:pt x="1442" y="3546"/>
                  </a:cubicBezTo>
                  <a:cubicBezTo>
                    <a:pt x="1425" y="3548"/>
                    <a:pt x="1425" y="3530"/>
                    <a:pt x="1432" y="3518"/>
                  </a:cubicBezTo>
                  <a:cubicBezTo>
                    <a:pt x="1455" y="3512"/>
                    <a:pt x="1474" y="3492"/>
                    <a:pt x="1490" y="3503"/>
                  </a:cubicBezTo>
                  <a:cubicBezTo>
                    <a:pt x="1490" y="3513"/>
                    <a:pt x="1480" y="3514"/>
                    <a:pt x="1474" y="3517"/>
                  </a:cubicBezTo>
                  <a:cubicBezTo>
                    <a:pt x="1473" y="3527"/>
                    <a:pt x="1509" y="3501"/>
                    <a:pt x="1507" y="3530"/>
                  </a:cubicBezTo>
                  <a:cubicBezTo>
                    <a:pt x="1507" y="3530"/>
                    <a:pt x="1511" y="3523"/>
                    <a:pt x="1515" y="3515"/>
                  </a:cubicBezTo>
                  <a:cubicBezTo>
                    <a:pt x="1518" y="3508"/>
                    <a:pt x="1522" y="3501"/>
                    <a:pt x="1522" y="3501"/>
                  </a:cubicBezTo>
                  <a:cubicBezTo>
                    <a:pt x="1534" y="3498"/>
                    <a:pt x="1537" y="3504"/>
                    <a:pt x="1539" y="3511"/>
                  </a:cubicBezTo>
                  <a:cubicBezTo>
                    <a:pt x="1541" y="3518"/>
                    <a:pt x="1542" y="3526"/>
                    <a:pt x="1548" y="3526"/>
                  </a:cubicBezTo>
                  <a:cubicBezTo>
                    <a:pt x="1569" y="3473"/>
                    <a:pt x="1541" y="3431"/>
                    <a:pt x="1550" y="3391"/>
                  </a:cubicBezTo>
                  <a:cubicBezTo>
                    <a:pt x="1558" y="3398"/>
                    <a:pt x="1595" y="3421"/>
                    <a:pt x="1584" y="3414"/>
                  </a:cubicBezTo>
                  <a:cubicBezTo>
                    <a:pt x="1611" y="3396"/>
                    <a:pt x="1577" y="3335"/>
                    <a:pt x="1591" y="3304"/>
                  </a:cubicBezTo>
                  <a:cubicBezTo>
                    <a:pt x="1600" y="3315"/>
                    <a:pt x="1589" y="3323"/>
                    <a:pt x="1589" y="3335"/>
                  </a:cubicBezTo>
                  <a:cubicBezTo>
                    <a:pt x="1656" y="3254"/>
                    <a:pt x="1699" y="3179"/>
                    <a:pt x="1780" y="3101"/>
                  </a:cubicBezTo>
                  <a:cubicBezTo>
                    <a:pt x="1780" y="3101"/>
                    <a:pt x="1773" y="3090"/>
                    <a:pt x="1766" y="3079"/>
                  </a:cubicBezTo>
                  <a:cubicBezTo>
                    <a:pt x="1758" y="3069"/>
                    <a:pt x="1751" y="3058"/>
                    <a:pt x="1751" y="3058"/>
                  </a:cubicBezTo>
                  <a:cubicBezTo>
                    <a:pt x="1751" y="3058"/>
                    <a:pt x="1760" y="3055"/>
                    <a:pt x="1770" y="3051"/>
                  </a:cubicBezTo>
                  <a:cubicBezTo>
                    <a:pt x="1779" y="3048"/>
                    <a:pt x="1789" y="3044"/>
                    <a:pt x="1789" y="3044"/>
                  </a:cubicBezTo>
                  <a:cubicBezTo>
                    <a:pt x="1797" y="3033"/>
                    <a:pt x="1805" y="3021"/>
                    <a:pt x="1812" y="3009"/>
                  </a:cubicBezTo>
                  <a:cubicBezTo>
                    <a:pt x="1818" y="2997"/>
                    <a:pt x="1824" y="2985"/>
                    <a:pt x="1829" y="2973"/>
                  </a:cubicBezTo>
                  <a:cubicBezTo>
                    <a:pt x="1839" y="2949"/>
                    <a:pt x="1845" y="2924"/>
                    <a:pt x="1849" y="2899"/>
                  </a:cubicBezTo>
                  <a:cubicBezTo>
                    <a:pt x="1854" y="2874"/>
                    <a:pt x="1856" y="2848"/>
                    <a:pt x="1858" y="2822"/>
                  </a:cubicBezTo>
                  <a:cubicBezTo>
                    <a:pt x="1858" y="2808"/>
                    <a:pt x="1859" y="2795"/>
                    <a:pt x="1859" y="2781"/>
                  </a:cubicBezTo>
                  <a:cubicBezTo>
                    <a:pt x="1859" y="2775"/>
                    <a:pt x="1859" y="2768"/>
                    <a:pt x="1860" y="2761"/>
                  </a:cubicBezTo>
                  <a:cubicBezTo>
                    <a:pt x="1860" y="2754"/>
                    <a:pt x="1860" y="2747"/>
                    <a:pt x="1860" y="2739"/>
                  </a:cubicBezTo>
                  <a:cubicBezTo>
                    <a:pt x="1861" y="2704"/>
                    <a:pt x="1893" y="2722"/>
                    <a:pt x="1908" y="2706"/>
                  </a:cubicBezTo>
                  <a:cubicBezTo>
                    <a:pt x="1911" y="2685"/>
                    <a:pt x="1909" y="2668"/>
                    <a:pt x="1905" y="2653"/>
                  </a:cubicBezTo>
                  <a:cubicBezTo>
                    <a:pt x="1901" y="2639"/>
                    <a:pt x="1896" y="2626"/>
                    <a:pt x="1888" y="2614"/>
                  </a:cubicBezTo>
                  <a:cubicBezTo>
                    <a:pt x="1874" y="2589"/>
                    <a:pt x="1859" y="2566"/>
                    <a:pt x="1849" y="2530"/>
                  </a:cubicBezTo>
                  <a:cubicBezTo>
                    <a:pt x="1864" y="2538"/>
                    <a:pt x="1904" y="2553"/>
                    <a:pt x="1902" y="2518"/>
                  </a:cubicBezTo>
                  <a:cubicBezTo>
                    <a:pt x="1888" y="2514"/>
                    <a:pt x="1868" y="2513"/>
                    <a:pt x="1873" y="2491"/>
                  </a:cubicBezTo>
                  <a:cubicBezTo>
                    <a:pt x="1873" y="2491"/>
                    <a:pt x="1877" y="2493"/>
                    <a:pt x="1881" y="2495"/>
                  </a:cubicBezTo>
                  <a:cubicBezTo>
                    <a:pt x="1884" y="2497"/>
                    <a:pt x="1888" y="2499"/>
                    <a:pt x="1888" y="2499"/>
                  </a:cubicBezTo>
                  <a:cubicBezTo>
                    <a:pt x="1897" y="2488"/>
                    <a:pt x="1895" y="2478"/>
                    <a:pt x="1891" y="2466"/>
                  </a:cubicBezTo>
                  <a:cubicBezTo>
                    <a:pt x="1887" y="2454"/>
                    <a:pt x="1882" y="2439"/>
                    <a:pt x="1881" y="2418"/>
                  </a:cubicBezTo>
                  <a:cubicBezTo>
                    <a:pt x="1862" y="2347"/>
                    <a:pt x="1803" y="2294"/>
                    <a:pt x="1735" y="2270"/>
                  </a:cubicBezTo>
                  <a:cubicBezTo>
                    <a:pt x="1723" y="2244"/>
                    <a:pt x="1734" y="2239"/>
                    <a:pt x="1749" y="2240"/>
                  </a:cubicBezTo>
                  <a:cubicBezTo>
                    <a:pt x="1764" y="2240"/>
                    <a:pt x="1782" y="2246"/>
                    <a:pt x="1784" y="2238"/>
                  </a:cubicBezTo>
                  <a:cubicBezTo>
                    <a:pt x="1787" y="2261"/>
                    <a:pt x="1792" y="2267"/>
                    <a:pt x="1799" y="2267"/>
                  </a:cubicBezTo>
                  <a:cubicBezTo>
                    <a:pt x="1805" y="2268"/>
                    <a:pt x="1814" y="2262"/>
                    <a:pt x="1823" y="2263"/>
                  </a:cubicBezTo>
                  <a:cubicBezTo>
                    <a:pt x="1802" y="2247"/>
                    <a:pt x="1781" y="2228"/>
                    <a:pt x="1803" y="2201"/>
                  </a:cubicBezTo>
                  <a:cubicBezTo>
                    <a:pt x="1794" y="2187"/>
                    <a:pt x="1788" y="2177"/>
                    <a:pt x="1779" y="2168"/>
                  </a:cubicBezTo>
                  <a:cubicBezTo>
                    <a:pt x="1770" y="2160"/>
                    <a:pt x="1760" y="2153"/>
                    <a:pt x="1742" y="2146"/>
                  </a:cubicBezTo>
                  <a:cubicBezTo>
                    <a:pt x="1760" y="2153"/>
                    <a:pt x="1753" y="2174"/>
                    <a:pt x="1733" y="2170"/>
                  </a:cubicBezTo>
                  <a:cubicBezTo>
                    <a:pt x="1731" y="2155"/>
                    <a:pt x="1717" y="2137"/>
                    <a:pt x="1708" y="2120"/>
                  </a:cubicBezTo>
                  <a:cubicBezTo>
                    <a:pt x="1699" y="2103"/>
                    <a:pt x="1695" y="2087"/>
                    <a:pt x="1711" y="2075"/>
                  </a:cubicBezTo>
                  <a:cubicBezTo>
                    <a:pt x="1660" y="2019"/>
                    <a:pt x="1604" y="1963"/>
                    <a:pt x="1543" y="1913"/>
                  </a:cubicBezTo>
                  <a:cubicBezTo>
                    <a:pt x="1527" y="1901"/>
                    <a:pt x="1511" y="1889"/>
                    <a:pt x="1495" y="1877"/>
                  </a:cubicBezTo>
                  <a:cubicBezTo>
                    <a:pt x="1487" y="1871"/>
                    <a:pt x="1479" y="1865"/>
                    <a:pt x="1471" y="1860"/>
                  </a:cubicBezTo>
                  <a:lnTo>
                    <a:pt x="1459" y="1851"/>
                  </a:lnTo>
                  <a:lnTo>
                    <a:pt x="1453" y="1847"/>
                  </a:lnTo>
                  <a:cubicBezTo>
                    <a:pt x="1452" y="1847"/>
                    <a:pt x="1455" y="1849"/>
                    <a:pt x="1454" y="1848"/>
                  </a:cubicBezTo>
                  <a:lnTo>
                    <a:pt x="1453" y="1848"/>
                  </a:lnTo>
                  <a:cubicBezTo>
                    <a:pt x="1446" y="1842"/>
                    <a:pt x="1438" y="1838"/>
                    <a:pt x="1430" y="1834"/>
                  </a:cubicBezTo>
                  <a:cubicBezTo>
                    <a:pt x="1405" y="1844"/>
                    <a:pt x="1427" y="1841"/>
                    <a:pt x="1411" y="1849"/>
                  </a:cubicBezTo>
                  <a:cubicBezTo>
                    <a:pt x="1394" y="1854"/>
                    <a:pt x="1394" y="1851"/>
                    <a:pt x="1396" y="1848"/>
                  </a:cubicBezTo>
                  <a:cubicBezTo>
                    <a:pt x="1398" y="1844"/>
                    <a:pt x="1402" y="1841"/>
                    <a:pt x="1386" y="1845"/>
                  </a:cubicBezTo>
                  <a:cubicBezTo>
                    <a:pt x="1386" y="1845"/>
                    <a:pt x="1393" y="1842"/>
                    <a:pt x="1400" y="1840"/>
                  </a:cubicBezTo>
                  <a:cubicBezTo>
                    <a:pt x="1406" y="1837"/>
                    <a:pt x="1413" y="1834"/>
                    <a:pt x="1413" y="1834"/>
                  </a:cubicBezTo>
                  <a:cubicBezTo>
                    <a:pt x="1410" y="1831"/>
                    <a:pt x="1398" y="1833"/>
                    <a:pt x="1381" y="1835"/>
                  </a:cubicBezTo>
                  <a:cubicBezTo>
                    <a:pt x="1363" y="1837"/>
                    <a:pt x="1340" y="1840"/>
                    <a:pt x="1319" y="1841"/>
                  </a:cubicBezTo>
                  <a:cubicBezTo>
                    <a:pt x="1312" y="1842"/>
                    <a:pt x="1305" y="1842"/>
                    <a:pt x="1298" y="1842"/>
                  </a:cubicBezTo>
                  <a:cubicBezTo>
                    <a:pt x="1317" y="1838"/>
                    <a:pt x="1321" y="1834"/>
                    <a:pt x="1325" y="1832"/>
                  </a:cubicBezTo>
                  <a:cubicBezTo>
                    <a:pt x="1329" y="1830"/>
                    <a:pt x="1333" y="1829"/>
                    <a:pt x="1349" y="1828"/>
                  </a:cubicBezTo>
                  <a:cubicBezTo>
                    <a:pt x="1343" y="1828"/>
                    <a:pt x="1378" y="1816"/>
                    <a:pt x="1414" y="1807"/>
                  </a:cubicBezTo>
                  <a:cubicBezTo>
                    <a:pt x="1449" y="1798"/>
                    <a:pt x="1485" y="1791"/>
                    <a:pt x="1466" y="1794"/>
                  </a:cubicBezTo>
                  <a:cubicBezTo>
                    <a:pt x="1466" y="1794"/>
                    <a:pt x="1424" y="1802"/>
                    <a:pt x="1385" y="1811"/>
                  </a:cubicBezTo>
                  <a:cubicBezTo>
                    <a:pt x="1345" y="1820"/>
                    <a:pt x="1307" y="1830"/>
                    <a:pt x="1307" y="1830"/>
                  </a:cubicBezTo>
                  <a:cubicBezTo>
                    <a:pt x="1291" y="1833"/>
                    <a:pt x="1289" y="1826"/>
                    <a:pt x="1279" y="1829"/>
                  </a:cubicBezTo>
                  <a:cubicBezTo>
                    <a:pt x="1305" y="1819"/>
                    <a:pt x="1341" y="1811"/>
                    <a:pt x="1337" y="1809"/>
                  </a:cubicBezTo>
                  <a:cubicBezTo>
                    <a:pt x="1383" y="1803"/>
                    <a:pt x="1379" y="1806"/>
                    <a:pt x="1382" y="1808"/>
                  </a:cubicBezTo>
                  <a:cubicBezTo>
                    <a:pt x="1418" y="1802"/>
                    <a:pt x="1428" y="1799"/>
                    <a:pt x="1438" y="1797"/>
                  </a:cubicBezTo>
                  <a:cubicBezTo>
                    <a:pt x="1448" y="1795"/>
                    <a:pt x="1459" y="1793"/>
                    <a:pt x="1495" y="1788"/>
                  </a:cubicBezTo>
                  <a:cubicBezTo>
                    <a:pt x="1466" y="1792"/>
                    <a:pt x="1472" y="1791"/>
                    <a:pt x="1466" y="1792"/>
                  </a:cubicBezTo>
                  <a:cubicBezTo>
                    <a:pt x="1454" y="1794"/>
                    <a:pt x="1441" y="1796"/>
                    <a:pt x="1425" y="1797"/>
                  </a:cubicBezTo>
                  <a:cubicBezTo>
                    <a:pt x="1425" y="1797"/>
                    <a:pt x="1439" y="1794"/>
                    <a:pt x="1439" y="1794"/>
                  </a:cubicBezTo>
                  <a:cubicBezTo>
                    <a:pt x="1439" y="1794"/>
                    <a:pt x="1433" y="1795"/>
                    <a:pt x="1426" y="1796"/>
                  </a:cubicBezTo>
                  <a:cubicBezTo>
                    <a:pt x="1420" y="1797"/>
                    <a:pt x="1414" y="1798"/>
                    <a:pt x="1414" y="1798"/>
                  </a:cubicBezTo>
                  <a:cubicBezTo>
                    <a:pt x="1401" y="1799"/>
                    <a:pt x="1377" y="1801"/>
                    <a:pt x="1361" y="1801"/>
                  </a:cubicBezTo>
                  <a:cubicBezTo>
                    <a:pt x="1346" y="1802"/>
                    <a:pt x="1338" y="1801"/>
                    <a:pt x="1359" y="1798"/>
                  </a:cubicBezTo>
                  <a:cubicBezTo>
                    <a:pt x="1359" y="1798"/>
                    <a:pt x="1334" y="1799"/>
                    <a:pt x="1310" y="1800"/>
                  </a:cubicBezTo>
                  <a:cubicBezTo>
                    <a:pt x="1284" y="1800"/>
                    <a:pt x="1258" y="1801"/>
                    <a:pt x="1258" y="1801"/>
                  </a:cubicBezTo>
                  <a:cubicBezTo>
                    <a:pt x="1295" y="1798"/>
                    <a:pt x="1297" y="1798"/>
                    <a:pt x="1290" y="1797"/>
                  </a:cubicBezTo>
                  <a:cubicBezTo>
                    <a:pt x="1284" y="1797"/>
                    <a:pt x="1269" y="1797"/>
                    <a:pt x="1275" y="1796"/>
                  </a:cubicBezTo>
                  <a:lnTo>
                    <a:pt x="1329" y="1795"/>
                  </a:lnTo>
                  <a:cubicBezTo>
                    <a:pt x="1321" y="1793"/>
                    <a:pt x="1332" y="1793"/>
                    <a:pt x="1360" y="1791"/>
                  </a:cubicBezTo>
                  <a:cubicBezTo>
                    <a:pt x="1399" y="1791"/>
                    <a:pt x="1395" y="1791"/>
                    <a:pt x="1391" y="1791"/>
                  </a:cubicBezTo>
                  <a:cubicBezTo>
                    <a:pt x="1387" y="1791"/>
                    <a:pt x="1382" y="1792"/>
                    <a:pt x="1416" y="1791"/>
                  </a:cubicBezTo>
                  <a:lnTo>
                    <a:pt x="1438" y="1790"/>
                  </a:lnTo>
                  <a:cubicBezTo>
                    <a:pt x="1391" y="1791"/>
                    <a:pt x="1349" y="1791"/>
                    <a:pt x="1324" y="1792"/>
                  </a:cubicBezTo>
                  <a:cubicBezTo>
                    <a:pt x="1229" y="1794"/>
                    <a:pt x="1143" y="1793"/>
                    <a:pt x="1121" y="1791"/>
                  </a:cubicBezTo>
                  <a:cubicBezTo>
                    <a:pt x="1162" y="1790"/>
                    <a:pt x="1187" y="1790"/>
                    <a:pt x="1211" y="1790"/>
                  </a:cubicBezTo>
                  <a:cubicBezTo>
                    <a:pt x="1235" y="1790"/>
                    <a:pt x="1258" y="1790"/>
                    <a:pt x="1301" y="1790"/>
                  </a:cubicBezTo>
                  <a:cubicBezTo>
                    <a:pt x="1307" y="1790"/>
                    <a:pt x="1294" y="1789"/>
                    <a:pt x="1270" y="1789"/>
                  </a:cubicBezTo>
                  <a:cubicBezTo>
                    <a:pt x="1232" y="1789"/>
                    <a:pt x="1201" y="1789"/>
                    <a:pt x="1173" y="1789"/>
                  </a:cubicBezTo>
                  <a:cubicBezTo>
                    <a:pt x="1098" y="1789"/>
                    <a:pt x="1016" y="1788"/>
                    <a:pt x="1012" y="1788"/>
                  </a:cubicBezTo>
                  <a:cubicBezTo>
                    <a:pt x="1015" y="1787"/>
                    <a:pt x="1015" y="1787"/>
                    <a:pt x="1014" y="1787"/>
                  </a:cubicBezTo>
                  <a:cubicBezTo>
                    <a:pt x="1011" y="1787"/>
                    <a:pt x="1008" y="1787"/>
                    <a:pt x="1006" y="1787"/>
                  </a:cubicBezTo>
                  <a:cubicBezTo>
                    <a:pt x="1004" y="1786"/>
                    <a:pt x="956" y="1786"/>
                    <a:pt x="973" y="1785"/>
                  </a:cubicBezTo>
                  <a:cubicBezTo>
                    <a:pt x="1034" y="1786"/>
                    <a:pt x="1066" y="1785"/>
                    <a:pt x="1131" y="1785"/>
                  </a:cubicBezTo>
                  <a:lnTo>
                    <a:pt x="1192" y="1786"/>
                  </a:lnTo>
                  <a:cubicBezTo>
                    <a:pt x="1177" y="1786"/>
                    <a:pt x="1208" y="1786"/>
                    <a:pt x="1253" y="1786"/>
                  </a:cubicBezTo>
                  <a:cubicBezTo>
                    <a:pt x="1164" y="1785"/>
                    <a:pt x="1195" y="1784"/>
                    <a:pt x="1173" y="1780"/>
                  </a:cubicBezTo>
                  <a:lnTo>
                    <a:pt x="1104" y="1779"/>
                  </a:lnTo>
                  <a:cubicBezTo>
                    <a:pt x="1099" y="1778"/>
                    <a:pt x="1093" y="1775"/>
                    <a:pt x="1091" y="1773"/>
                  </a:cubicBezTo>
                  <a:cubicBezTo>
                    <a:pt x="1090" y="1770"/>
                    <a:pt x="1094" y="1767"/>
                    <a:pt x="1110" y="1765"/>
                  </a:cubicBezTo>
                  <a:cubicBezTo>
                    <a:pt x="1112" y="1761"/>
                    <a:pt x="1100" y="1759"/>
                    <a:pt x="1083" y="1756"/>
                  </a:cubicBezTo>
                  <a:cubicBezTo>
                    <a:pt x="1065" y="1753"/>
                    <a:pt x="1042" y="1749"/>
                    <a:pt x="1026" y="1743"/>
                  </a:cubicBezTo>
                  <a:cubicBezTo>
                    <a:pt x="1087" y="1743"/>
                    <a:pt x="1138" y="1750"/>
                    <a:pt x="1192" y="1757"/>
                  </a:cubicBezTo>
                  <a:cubicBezTo>
                    <a:pt x="1160" y="1756"/>
                    <a:pt x="1166" y="1760"/>
                    <a:pt x="1138" y="1762"/>
                  </a:cubicBezTo>
                  <a:cubicBezTo>
                    <a:pt x="1148" y="1768"/>
                    <a:pt x="1180" y="1774"/>
                    <a:pt x="1207" y="1777"/>
                  </a:cubicBezTo>
                  <a:cubicBezTo>
                    <a:pt x="1233" y="1781"/>
                    <a:pt x="1254" y="1783"/>
                    <a:pt x="1228" y="1784"/>
                  </a:cubicBezTo>
                  <a:cubicBezTo>
                    <a:pt x="1308" y="1786"/>
                    <a:pt x="1306" y="1785"/>
                    <a:pt x="1292" y="1784"/>
                  </a:cubicBezTo>
                  <a:cubicBezTo>
                    <a:pt x="1277" y="1784"/>
                    <a:pt x="1254" y="1781"/>
                    <a:pt x="1285" y="1781"/>
                  </a:cubicBezTo>
                  <a:cubicBezTo>
                    <a:pt x="1294" y="1782"/>
                    <a:pt x="1297" y="1782"/>
                    <a:pt x="1298" y="1782"/>
                  </a:cubicBezTo>
                  <a:cubicBezTo>
                    <a:pt x="1299" y="1782"/>
                    <a:pt x="1300" y="1782"/>
                    <a:pt x="1304" y="1782"/>
                  </a:cubicBezTo>
                  <a:cubicBezTo>
                    <a:pt x="1318" y="1784"/>
                    <a:pt x="1336" y="1785"/>
                    <a:pt x="1421" y="1787"/>
                  </a:cubicBezTo>
                  <a:cubicBezTo>
                    <a:pt x="1380" y="1786"/>
                    <a:pt x="1364" y="1785"/>
                    <a:pt x="1346" y="1785"/>
                  </a:cubicBezTo>
                  <a:cubicBezTo>
                    <a:pt x="1318" y="1784"/>
                    <a:pt x="1303" y="1783"/>
                    <a:pt x="1340" y="1783"/>
                  </a:cubicBezTo>
                  <a:cubicBezTo>
                    <a:pt x="1322" y="1781"/>
                    <a:pt x="1345" y="1781"/>
                    <a:pt x="1371" y="1782"/>
                  </a:cubicBezTo>
                  <a:cubicBezTo>
                    <a:pt x="1395" y="1783"/>
                    <a:pt x="1417" y="1783"/>
                    <a:pt x="1435" y="1784"/>
                  </a:cubicBezTo>
                  <a:cubicBezTo>
                    <a:pt x="1410" y="1782"/>
                    <a:pt x="1371" y="1779"/>
                    <a:pt x="1343" y="1776"/>
                  </a:cubicBezTo>
                  <a:cubicBezTo>
                    <a:pt x="1315" y="1772"/>
                    <a:pt x="1298" y="1769"/>
                    <a:pt x="1315" y="1768"/>
                  </a:cubicBezTo>
                  <a:cubicBezTo>
                    <a:pt x="1315" y="1768"/>
                    <a:pt x="1331" y="1770"/>
                    <a:pt x="1347" y="1773"/>
                  </a:cubicBezTo>
                  <a:cubicBezTo>
                    <a:pt x="1364" y="1775"/>
                    <a:pt x="1380" y="1777"/>
                    <a:pt x="1380" y="1777"/>
                  </a:cubicBezTo>
                  <a:cubicBezTo>
                    <a:pt x="1386" y="1776"/>
                    <a:pt x="1362" y="1772"/>
                    <a:pt x="1340" y="1769"/>
                  </a:cubicBezTo>
                  <a:cubicBezTo>
                    <a:pt x="1317" y="1765"/>
                    <a:pt x="1295" y="1762"/>
                    <a:pt x="1306" y="1759"/>
                  </a:cubicBezTo>
                  <a:cubicBezTo>
                    <a:pt x="1299" y="1759"/>
                    <a:pt x="1285" y="1757"/>
                    <a:pt x="1271" y="1754"/>
                  </a:cubicBezTo>
                  <a:cubicBezTo>
                    <a:pt x="1257" y="1752"/>
                    <a:pt x="1244" y="1749"/>
                    <a:pt x="1235" y="1752"/>
                  </a:cubicBezTo>
                  <a:cubicBezTo>
                    <a:pt x="1208" y="1745"/>
                    <a:pt x="1224" y="1737"/>
                    <a:pt x="1254" y="1736"/>
                  </a:cubicBezTo>
                  <a:cubicBezTo>
                    <a:pt x="1249" y="1733"/>
                    <a:pt x="1236" y="1731"/>
                    <a:pt x="1218" y="1727"/>
                  </a:cubicBezTo>
                  <a:cubicBezTo>
                    <a:pt x="1190" y="1726"/>
                    <a:pt x="1192" y="1730"/>
                    <a:pt x="1193" y="1734"/>
                  </a:cubicBezTo>
                  <a:cubicBezTo>
                    <a:pt x="1194" y="1737"/>
                    <a:pt x="1194" y="1740"/>
                    <a:pt x="1155" y="1737"/>
                  </a:cubicBezTo>
                  <a:cubicBezTo>
                    <a:pt x="1155" y="1737"/>
                    <a:pt x="1169" y="1741"/>
                    <a:pt x="1183" y="1744"/>
                  </a:cubicBezTo>
                  <a:cubicBezTo>
                    <a:pt x="1197" y="1747"/>
                    <a:pt x="1212" y="1751"/>
                    <a:pt x="1212" y="1751"/>
                  </a:cubicBezTo>
                  <a:cubicBezTo>
                    <a:pt x="1173" y="1751"/>
                    <a:pt x="1108" y="1746"/>
                    <a:pt x="1092" y="1739"/>
                  </a:cubicBezTo>
                  <a:cubicBezTo>
                    <a:pt x="1089" y="1741"/>
                    <a:pt x="1095" y="1743"/>
                    <a:pt x="1078" y="1743"/>
                  </a:cubicBezTo>
                  <a:cubicBezTo>
                    <a:pt x="1019" y="1738"/>
                    <a:pt x="1036" y="1737"/>
                    <a:pt x="1056" y="1736"/>
                  </a:cubicBezTo>
                  <a:cubicBezTo>
                    <a:pt x="1076" y="1735"/>
                    <a:pt x="1097" y="1734"/>
                    <a:pt x="1057" y="1727"/>
                  </a:cubicBezTo>
                  <a:lnTo>
                    <a:pt x="1049" y="1732"/>
                  </a:lnTo>
                  <a:cubicBezTo>
                    <a:pt x="1010" y="1729"/>
                    <a:pt x="1003" y="1724"/>
                    <a:pt x="1014" y="1720"/>
                  </a:cubicBezTo>
                  <a:cubicBezTo>
                    <a:pt x="1023" y="1715"/>
                    <a:pt x="1042" y="1710"/>
                    <a:pt x="1055" y="1707"/>
                  </a:cubicBezTo>
                  <a:cubicBezTo>
                    <a:pt x="1110" y="1704"/>
                    <a:pt x="1139" y="1699"/>
                    <a:pt x="1180" y="1709"/>
                  </a:cubicBezTo>
                  <a:cubicBezTo>
                    <a:pt x="1180" y="1709"/>
                    <a:pt x="1171" y="1722"/>
                    <a:pt x="1171" y="1722"/>
                  </a:cubicBezTo>
                  <a:cubicBezTo>
                    <a:pt x="1195" y="1723"/>
                    <a:pt x="1197" y="1719"/>
                    <a:pt x="1197" y="1714"/>
                  </a:cubicBezTo>
                  <a:cubicBezTo>
                    <a:pt x="1197" y="1710"/>
                    <a:pt x="1195" y="1703"/>
                    <a:pt x="1203" y="1700"/>
                  </a:cubicBezTo>
                  <a:cubicBezTo>
                    <a:pt x="1206" y="1700"/>
                    <a:pt x="1209" y="1701"/>
                    <a:pt x="1212" y="1701"/>
                  </a:cubicBezTo>
                  <a:cubicBezTo>
                    <a:pt x="1214" y="1701"/>
                    <a:pt x="1217" y="1702"/>
                    <a:pt x="1219" y="1702"/>
                  </a:cubicBezTo>
                  <a:cubicBezTo>
                    <a:pt x="1215" y="1701"/>
                    <a:pt x="1211" y="1700"/>
                    <a:pt x="1208" y="1699"/>
                  </a:cubicBezTo>
                  <a:cubicBezTo>
                    <a:pt x="1213" y="1698"/>
                    <a:pt x="1220" y="1699"/>
                    <a:pt x="1231" y="1700"/>
                  </a:cubicBezTo>
                  <a:cubicBezTo>
                    <a:pt x="1238" y="1698"/>
                    <a:pt x="1241" y="1693"/>
                    <a:pt x="1246" y="1688"/>
                  </a:cubicBezTo>
                  <a:cubicBezTo>
                    <a:pt x="1251" y="1683"/>
                    <a:pt x="1257" y="1678"/>
                    <a:pt x="1267" y="1678"/>
                  </a:cubicBezTo>
                  <a:lnTo>
                    <a:pt x="1239" y="1666"/>
                  </a:lnTo>
                  <a:lnTo>
                    <a:pt x="1253" y="1674"/>
                  </a:lnTo>
                  <a:cubicBezTo>
                    <a:pt x="1246" y="1676"/>
                    <a:pt x="1234" y="1678"/>
                    <a:pt x="1222" y="1677"/>
                  </a:cubicBezTo>
                  <a:cubicBezTo>
                    <a:pt x="1210" y="1676"/>
                    <a:pt x="1197" y="1673"/>
                    <a:pt x="1192" y="1667"/>
                  </a:cubicBezTo>
                  <a:cubicBezTo>
                    <a:pt x="1199" y="1655"/>
                    <a:pt x="1218" y="1654"/>
                    <a:pt x="1237" y="1657"/>
                  </a:cubicBezTo>
                  <a:cubicBezTo>
                    <a:pt x="1256" y="1661"/>
                    <a:pt x="1277" y="1669"/>
                    <a:pt x="1290" y="1673"/>
                  </a:cubicBezTo>
                  <a:cubicBezTo>
                    <a:pt x="1306" y="1685"/>
                    <a:pt x="1300" y="1688"/>
                    <a:pt x="1290" y="1689"/>
                  </a:cubicBezTo>
                  <a:cubicBezTo>
                    <a:pt x="1280" y="1691"/>
                    <a:pt x="1265" y="1692"/>
                    <a:pt x="1266" y="1697"/>
                  </a:cubicBezTo>
                  <a:cubicBezTo>
                    <a:pt x="1292" y="1704"/>
                    <a:pt x="1298" y="1702"/>
                    <a:pt x="1305" y="1698"/>
                  </a:cubicBezTo>
                  <a:cubicBezTo>
                    <a:pt x="1312" y="1695"/>
                    <a:pt x="1320" y="1688"/>
                    <a:pt x="1342" y="1690"/>
                  </a:cubicBezTo>
                  <a:cubicBezTo>
                    <a:pt x="1357" y="1704"/>
                    <a:pt x="1352" y="1707"/>
                    <a:pt x="1346" y="1709"/>
                  </a:cubicBezTo>
                  <a:cubicBezTo>
                    <a:pt x="1341" y="1711"/>
                    <a:pt x="1335" y="1713"/>
                    <a:pt x="1354" y="1723"/>
                  </a:cubicBezTo>
                  <a:cubicBezTo>
                    <a:pt x="1364" y="1722"/>
                    <a:pt x="1362" y="1717"/>
                    <a:pt x="1362" y="1712"/>
                  </a:cubicBezTo>
                  <a:cubicBezTo>
                    <a:pt x="1361" y="1707"/>
                    <a:pt x="1362" y="1701"/>
                    <a:pt x="1374" y="1700"/>
                  </a:cubicBezTo>
                  <a:cubicBezTo>
                    <a:pt x="1389" y="1713"/>
                    <a:pt x="1378" y="1721"/>
                    <a:pt x="1402" y="1734"/>
                  </a:cubicBezTo>
                  <a:cubicBezTo>
                    <a:pt x="1402" y="1734"/>
                    <a:pt x="1407" y="1735"/>
                    <a:pt x="1411" y="1736"/>
                  </a:cubicBezTo>
                  <a:cubicBezTo>
                    <a:pt x="1415" y="1737"/>
                    <a:pt x="1419" y="1738"/>
                    <a:pt x="1419" y="1738"/>
                  </a:cubicBezTo>
                  <a:cubicBezTo>
                    <a:pt x="1413" y="1742"/>
                    <a:pt x="1427" y="1749"/>
                    <a:pt x="1441" y="1756"/>
                  </a:cubicBezTo>
                  <a:cubicBezTo>
                    <a:pt x="1455" y="1764"/>
                    <a:pt x="1468" y="1772"/>
                    <a:pt x="1472" y="1776"/>
                  </a:cubicBezTo>
                  <a:cubicBezTo>
                    <a:pt x="1481" y="1780"/>
                    <a:pt x="1473" y="1775"/>
                    <a:pt x="1467" y="1770"/>
                  </a:cubicBezTo>
                  <a:cubicBezTo>
                    <a:pt x="1461" y="1766"/>
                    <a:pt x="1457" y="1761"/>
                    <a:pt x="1470" y="1769"/>
                  </a:cubicBezTo>
                  <a:cubicBezTo>
                    <a:pt x="1462" y="1763"/>
                    <a:pt x="1450" y="1756"/>
                    <a:pt x="1439" y="1749"/>
                  </a:cubicBezTo>
                  <a:cubicBezTo>
                    <a:pt x="1427" y="1741"/>
                    <a:pt x="1417" y="1734"/>
                    <a:pt x="1414" y="1727"/>
                  </a:cubicBezTo>
                  <a:cubicBezTo>
                    <a:pt x="1414" y="1726"/>
                    <a:pt x="1432" y="1729"/>
                    <a:pt x="1432" y="1730"/>
                  </a:cubicBezTo>
                  <a:cubicBezTo>
                    <a:pt x="1441" y="1735"/>
                    <a:pt x="1447" y="1744"/>
                    <a:pt x="1454" y="1752"/>
                  </a:cubicBezTo>
                  <a:cubicBezTo>
                    <a:pt x="1461" y="1760"/>
                    <a:pt x="1469" y="1767"/>
                    <a:pt x="1476" y="1772"/>
                  </a:cubicBezTo>
                  <a:cubicBezTo>
                    <a:pt x="1476" y="1772"/>
                    <a:pt x="1468" y="1760"/>
                    <a:pt x="1469" y="1760"/>
                  </a:cubicBezTo>
                  <a:cubicBezTo>
                    <a:pt x="1461" y="1751"/>
                    <a:pt x="1453" y="1749"/>
                    <a:pt x="1443" y="1735"/>
                  </a:cubicBezTo>
                  <a:cubicBezTo>
                    <a:pt x="1450" y="1739"/>
                    <a:pt x="1443" y="1729"/>
                    <a:pt x="1436" y="1716"/>
                  </a:cubicBezTo>
                  <a:cubicBezTo>
                    <a:pt x="1432" y="1709"/>
                    <a:pt x="1428" y="1702"/>
                    <a:pt x="1424" y="1694"/>
                  </a:cubicBezTo>
                  <a:cubicBezTo>
                    <a:pt x="1423" y="1690"/>
                    <a:pt x="1421" y="1687"/>
                    <a:pt x="1420" y="1684"/>
                  </a:cubicBezTo>
                  <a:cubicBezTo>
                    <a:pt x="1420" y="1680"/>
                    <a:pt x="1421" y="1676"/>
                    <a:pt x="1422" y="1672"/>
                  </a:cubicBezTo>
                  <a:cubicBezTo>
                    <a:pt x="1438" y="1662"/>
                    <a:pt x="1451" y="1654"/>
                    <a:pt x="1466" y="1661"/>
                  </a:cubicBezTo>
                  <a:cubicBezTo>
                    <a:pt x="1474" y="1633"/>
                    <a:pt x="1489" y="1608"/>
                    <a:pt x="1503" y="1584"/>
                  </a:cubicBezTo>
                  <a:cubicBezTo>
                    <a:pt x="1509" y="1572"/>
                    <a:pt x="1516" y="1560"/>
                    <a:pt x="1521" y="1547"/>
                  </a:cubicBezTo>
                  <a:cubicBezTo>
                    <a:pt x="1526" y="1534"/>
                    <a:pt x="1529" y="1521"/>
                    <a:pt x="1530" y="1508"/>
                  </a:cubicBezTo>
                  <a:cubicBezTo>
                    <a:pt x="1530" y="1527"/>
                    <a:pt x="1537" y="1534"/>
                    <a:pt x="1548" y="1535"/>
                  </a:cubicBezTo>
                  <a:cubicBezTo>
                    <a:pt x="1560" y="1537"/>
                    <a:pt x="1575" y="1534"/>
                    <a:pt x="1588" y="1532"/>
                  </a:cubicBezTo>
                  <a:cubicBezTo>
                    <a:pt x="1568" y="1563"/>
                    <a:pt x="1595" y="1588"/>
                    <a:pt x="1615" y="1603"/>
                  </a:cubicBezTo>
                  <a:cubicBezTo>
                    <a:pt x="1628" y="1583"/>
                    <a:pt x="1608" y="1546"/>
                    <a:pt x="1591" y="1546"/>
                  </a:cubicBezTo>
                  <a:cubicBezTo>
                    <a:pt x="1609" y="1537"/>
                    <a:pt x="1608" y="1528"/>
                    <a:pt x="1608" y="1520"/>
                  </a:cubicBezTo>
                  <a:cubicBezTo>
                    <a:pt x="1607" y="1512"/>
                    <a:pt x="1607" y="1506"/>
                    <a:pt x="1627" y="1500"/>
                  </a:cubicBezTo>
                  <a:cubicBezTo>
                    <a:pt x="1650" y="1491"/>
                    <a:pt x="1650" y="1531"/>
                    <a:pt x="1666" y="1534"/>
                  </a:cubicBezTo>
                  <a:cubicBezTo>
                    <a:pt x="1680" y="1517"/>
                    <a:pt x="1672" y="1508"/>
                    <a:pt x="1665" y="1499"/>
                  </a:cubicBezTo>
                  <a:cubicBezTo>
                    <a:pt x="1659" y="1491"/>
                    <a:pt x="1653" y="1482"/>
                    <a:pt x="1669" y="1466"/>
                  </a:cubicBezTo>
                  <a:cubicBezTo>
                    <a:pt x="1672" y="1471"/>
                    <a:pt x="1671" y="1475"/>
                    <a:pt x="1679" y="1476"/>
                  </a:cubicBezTo>
                  <a:cubicBezTo>
                    <a:pt x="1689" y="1468"/>
                    <a:pt x="1694" y="1455"/>
                    <a:pt x="1694" y="1444"/>
                  </a:cubicBezTo>
                  <a:cubicBezTo>
                    <a:pt x="1694" y="1432"/>
                    <a:pt x="1690" y="1420"/>
                    <a:pt x="1683" y="1413"/>
                  </a:cubicBezTo>
                  <a:cubicBezTo>
                    <a:pt x="1697" y="1414"/>
                    <a:pt x="1706" y="1410"/>
                    <a:pt x="1712" y="1404"/>
                  </a:cubicBezTo>
                  <a:cubicBezTo>
                    <a:pt x="1718" y="1398"/>
                    <a:pt x="1721" y="1390"/>
                    <a:pt x="1723" y="1384"/>
                  </a:cubicBezTo>
                  <a:cubicBezTo>
                    <a:pt x="1728" y="1370"/>
                    <a:pt x="1731" y="1360"/>
                    <a:pt x="1752" y="1372"/>
                  </a:cubicBezTo>
                  <a:cubicBezTo>
                    <a:pt x="1758" y="1342"/>
                    <a:pt x="1751" y="1342"/>
                    <a:pt x="1741" y="1346"/>
                  </a:cubicBezTo>
                  <a:cubicBezTo>
                    <a:pt x="1732" y="1351"/>
                    <a:pt x="1720" y="1360"/>
                    <a:pt x="1714" y="1352"/>
                  </a:cubicBezTo>
                  <a:cubicBezTo>
                    <a:pt x="1709" y="1337"/>
                    <a:pt x="1715" y="1321"/>
                    <a:pt x="1723" y="1308"/>
                  </a:cubicBezTo>
                  <a:cubicBezTo>
                    <a:pt x="1731" y="1295"/>
                    <a:pt x="1741" y="1284"/>
                    <a:pt x="1747" y="1279"/>
                  </a:cubicBezTo>
                  <a:cubicBezTo>
                    <a:pt x="1743" y="1292"/>
                    <a:pt x="1751" y="1309"/>
                    <a:pt x="1739" y="1319"/>
                  </a:cubicBezTo>
                  <a:cubicBezTo>
                    <a:pt x="1739" y="1319"/>
                    <a:pt x="1748" y="1320"/>
                    <a:pt x="1757" y="1320"/>
                  </a:cubicBezTo>
                  <a:cubicBezTo>
                    <a:pt x="1766" y="1320"/>
                    <a:pt x="1775" y="1320"/>
                    <a:pt x="1775" y="1320"/>
                  </a:cubicBezTo>
                  <a:cubicBezTo>
                    <a:pt x="1799" y="1289"/>
                    <a:pt x="1784" y="1272"/>
                    <a:pt x="1770" y="1256"/>
                  </a:cubicBezTo>
                  <a:cubicBezTo>
                    <a:pt x="1763" y="1248"/>
                    <a:pt x="1756" y="1240"/>
                    <a:pt x="1754" y="1231"/>
                  </a:cubicBezTo>
                  <a:cubicBezTo>
                    <a:pt x="1751" y="1222"/>
                    <a:pt x="1753" y="1212"/>
                    <a:pt x="1764" y="1197"/>
                  </a:cubicBezTo>
                  <a:cubicBezTo>
                    <a:pt x="1772" y="1235"/>
                    <a:pt x="1786" y="1214"/>
                    <a:pt x="1804" y="1238"/>
                  </a:cubicBezTo>
                  <a:cubicBezTo>
                    <a:pt x="1801" y="1231"/>
                    <a:pt x="1806" y="1215"/>
                    <a:pt x="1807" y="1204"/>
                  </a:cubicBezTo>
                  <a:cubicBezTo>
                    <a:pt x="1807" y="1193"/>
                    <a:pt x="1805" y="1188"/>
                    <a:pt x="1788" y="1200"/>
                  </a:cubicBezTo>
                  <a:cubicBezTo>
                    <a:pt x="1797" y="1176"/>
                    <a:pt x="1806" y="1160"/>
                    <a:pt x="1815" y="1143"/>
                  </a:cubicBezTo>
                  <a:cubicBezTo>
                    <a:pt x="1811" y="1131"/>
                    <a:pt x="1807" y="1119"/>
                    <a:pt x="1802" y="1107"/>
                  </a:cubicBezTo>
                  <a:cubicBezTo>
                    <a:pt x="1797" y="1096"/>
                    <a:pt x="1791" y="1086"/>
                    <a:pt x="1781" y="1078"/>
                  </a:cubicBezTo>
                  <a:cubicBezTo>
                    <a:pt x="1788" y="1045"/>
                    <a:pt x="1813" y="1022"/>
                    <a:pt x="1828" y="1005"/>
                  </a:cubicBezTo>
                  <a:cubicBezTo>
                    <a:pt x="1818" y="968"/>
                    <a:pt x="1822" y="934"/>
                    <a:pt x="1825" y="898"/>
                  </a:cubicBezTo>
                  <a:cubicBezTo>
                    <a:pt x="1828" y="863"/>
                    <a:pt x="1829" y="827"/>
                    <a:pt x="1812" y="791"/>
                  </a:cubicBezTo>
                  <a:lnTo>
                    <a:pt x="1811" y="797"/>
                  </a:lnTo>
                  <a:cubicBezTo>
                    <a:pt x="1810" y="768"/>
                    <a:pt x="1800" y="776"/>
                    <a:pt x="1789" y="783"/>
                  </a:cubicBezTo>
                  <a:cubicBezTo>
                    <a:pt x="1778" y="791"/>
                    <a:pt x="1767" y="798"/>
                    <a:pt x="1764" y="769"/>
                  </a:cubicBezTo>
                  <a:cubicBezTo>
                    <a:pt x="1805" y="771"/>
                    <a:pt x="1786" y="730"/>
                    <a:pt x="1804" y="706"/>
                  </a:cubicBezTo>
                  <a:cubicBezTo>
                    <a:pt x="1807" y="666"/>
                    <a:pt x="1791" y="634"/>
                    <a:pt x="1775" y="603"/>
                  </a:cubicBezTo>
                  <a:cubicBezTo>
                    <a:pt x="1759" y="572"/>
                    <a:pt x="1742" y="542"/>
                    <a:pt x="1738" y="500"/>
                  </a:cubicBezTo>
                  <a:cubicBezTo>
                    <a:pt x="1746" y="497"/>
                    <a:pt x="1757" y="498"/>
                    <a:pt x="1765" y="512"/>
                  </a:cubicBezTo>
                  <a:cubicBezTo>
                    <a:pt x="1752" y="449"/>
                    <a:pt x="1716" y="405"/>
                    <a:pt x="1681" y="358"/>
                  </a:cubicBezTo>
                  <a:lnTo>
                    <a:pt x="1687" y="357"/>
                  </a:lnTo>
                  <a:cubicBezTo>
                    <a:pt x="1679" y="332"/>
                    <a:pt x="1665" y="313"/>
                    <a:pt x="1650" y="295"/>
                  </a:cubicBezTo>
                  <a:cubicBezTo>
                    <a:pt x="1634" y="278"/>
                    <a:pt x="1616" y="264"/>
                    <a:pt x="1596" y="252"/>
                  </a:cubicBezTo>
                  <a:cubicBezTo>
                    <a:pt x="1557" y="228"/>
                    <a:pt x="1514" y="213"/>
                    <a:pt x="1473" y="195"/>
                  </a:cubicBezTo>
                  <a:cubicBezTo>
                    <a:pt x="1482" y="194"/>
                    <a:pt x="1491" y="182"/>
                    <a:pt x="1499" y="180"/>
                  </a:cubicBezTo>
                  <a:cubicBezTo>
                    <a:pt x="1481" y="164"/>
                    <a:pt x="1456" y="146"/>
                    <a:pt x="1429" y="135"/>
                  </a:cubicBezTo>
                  <a:cubicBezTo>
                    <a:pt x="1416" y="131"/>
                    <a:pt x="1403" y="127"/>
                    <a:pt x="1390" y="126"/>
                  </a:cubicBezTo>
                  <a:cubicBezTo>
                    <a:pt x="1377" y="126"/>
                    <a:pt x="1364" y="129"/>
                    <a:pt x="1354" y="134"/>
                  </a:cubicBezTo>
                  <a:cubicBezTo>
                    <a:pt x="1336" y="106"/>
                    <a:pt x="1326" y="107"/>
                    <a:pt x="1315" y="106"/>
                  </a:cubicBezTo>
                  <a:cubicBezTo>
                    <a:pt x="1304" y="106"/>
                    <a:pt x="1291" y="106"/>
                    <a:pt x="1263" y="78"/>
                  </a:cubicBezTo>
                  <a:cubicBezTo>
                    <a:pt x="1261" y="70"/>
                    <a:pt x="1271" y="73"/>
                    <a:pt x="1276" y="73"/>
                  </a:cubicBezTo>
                  <a:cubicBezTo>
                    <a:pt x="1261" y="62"/>
                    <a:pt x="1247" y="57"/>
                    <a:pt x="1233" y="52"/>
                  </a:cubicBezTo>
                  <a:cubicBezTo>
                    <a:pt x="1219" y="48"/>
                    <a:pt x="1204" y="45"/>
                    <a:pt x="1187" y="40"/>
                  </a:cubicBezTo>
                  <a:cubicBezTo>
                    <a:pt x="1147" y="47"/>
                    <a:pt x="1123" y="65"/>
                    <a:pt x="1098" y="77"/>
                  </a:cubicBezTo>
                  <a:cubicBezTo>
                    <a:pt x="1074" y="90"/>
                    <a:pt x="1049" y="98"/>
                    <a:pt x="1010" y="90"/>
                  </a:cubicBezTo>
                  <a:cubicBezTo>
                    <a:pt x="1005" y="34"/>
                    <a:pt x="1059" y="77"/>
                    <a:pt x="1063" y="33"/>
                  </a:cubicBezTo>
                  <a:cubicBezTo>
                    <a:pt x="1045" y="43"/>
                    <a:pt x="1031" y="53"/>
                    <a:pt x="1008" y="40"/>
                  </a:cubicBezTo>
                  <a:cubicBezTo>
                    <a:pt x="1022" y="18"/>
                    <a:pt x="1011" y="27"/>
                    <a:pt x="1021" y="7"/>
                  </a:cubicBezTo>
                  <a:cubicBezTo>
                    <a:pt x="1012" y="0"/>
                    <a:pt x="994" y="14"/>
                    <a:pt x="979" y="30"/>
                  </a:cubicBezTo>
                  <a:cubicBezTo>
                    <a:pt x="964" y="46"/>
                    <a:pt x="952" y="63"/>
                    <a:pt x="952" y="61"/>
                  </a:cubicBezTo>
                  <a:cubicBezTo>
                    <a:pt x="952" y="71"/>
                    <a:pt x="958" y="77"/>
                    <a:pt x="974" y="75"/>
                  </a:cubicBezTo>
                  <a:cubicBezTo>
                    <a:pt x="965" y="92"/>
                    <a:pt x="946" y="94"/>
                    <a:pt x="924" y="94"/>
                  </a:cubicBezTo>
                  <a:cubicBezTo>
                    <a:pt x="903" y="93"/>
                    <a:pt x="879" y="91"/>
                    <a:pt x="861" y="101"/>
                  </a:cubicBezTo>
                  <a:cubicBezTo>
                    <a:pt x="873" y="100"/>
                    <a:pt x="912" y="107"/>
                    <a:pt x="900" y="135"/>
                  </a:cubicBezTo>
                  <a:cubicBezTo>
                    <a:pt x="850" y="128"/>
                    <a:pt x="842" y="184"/>
                    <a:pt x="814" y="210"/>
                  </a:cubicBezTo>
                  <a:cubicBezTo>
                    <a:pt x="791" y="201"/>
                    <a:pt x="797" y="189"/>
                    <a:pt x="807" y="173"/>
                  </a:cubicBezTo>
                  <a:cubicBezTo>
                    <a:pt x="816" y="158"/>
                    <a:pt x="831" y="141"/>
                    <a:pt x="824" y="122"/>
                  </a:cubicBezTo>
                  <a:cubicBezTo>
                    <a:pt x="815" y="109"/>
                    <a:pt x="791" y="81"/>
                    <a:pt x="808" y="63"/>
                  </a:cubicBezTo>
                  <a:cubicBezTo>
                    <a:pt x="766" y="62"/>
                    <a:pt x="743" y="100"/>
                    <a:pt x="710" y="116"/>
                  </a:cubicBezTo>
                  <a:lnTo>
                    <a:pt x="709" y="105"/>
                  </a:lnTo>
                  <a:cubicBezTo>
                    <a:pt x="661" y="120"/>
                    <a:pt x="623" y="178"/>
                    <a:pt x="580" y="167"/>
                  </a:cubicBezTo>
                  <a:lnTo>
                    <a:pt x="603" y="174"/>
                  </a:lnTo>
                  <a:cubicBezTo>
                    <a:pt x="598" y="182"/>
                    <a:pt x="574" y="185"/>
                    <a:pt x="567" y="210"/>
                  </a:cubicBezTo>
                  <a:cubicBezTo>
                    <a:pt x="564" y="192"/>
                    <a:pt x="530" y="185"/>
                    <a:pt x="538" y="167"/>
                  </a:cubicBezTo>
                  <a:cubicBezTo>
                    <a:pt x="534" y="228"/>
                    <a:pt x="446" y="230"/>
                    <a:pt x="440" y="290"/>
                  </a:cubicBezTo>
                  <a:cubicBezTo>
                    <a:pt x="424" y="280"/>
                    <a:pt x="427" y="254"/>
                    <a:pt x="426" y="240"/>
                  </a:cubicBezTo>
                  <a:cubicBezTo>
                    <a:pt x="456" y="236"/>
                    <a:pt x="469" y="245"/>
                    <a:pt x="477" y="218"/>
                  </a:cubicBezTo>
                  <a:cubicBezTo>
                    <a:pt x="454" y="226"/>
                    <a:pt x="432" y="217"/>
                    <a:pt x="432" y="203"/>
                  </a:cubicBezTo>
                  <a:cubicBezTo>
                    <a:pt x="419" y="244"/>
                    <a:pt x="368" y="276"/>
                    <a:pt x="368" y="314"/>
                  </a:cubicBezTo>
                  <a:cubicBezTo>
                    <a:pt x="345" y="302"/>
                    <a:pt x="326" y="298"/>
                    <a:pt x="323" y="268"/>
                  </a:cubicBezTo>
                  <a:cubicBezTo>
                    <a:pt x="258" y="309"/>
                    <a:pt x="387" y="344"/>
                    <a:pt x="308" y="371"/>
                  </a:cubicBezTo>
                  <a:cubicBezTo>
                    <a:pt x="262" y="355"/>
                    <a:pt x="330" y="321"/>
                    <a:pt x="277" y="329"/>
                  </a:cubicBezTo>
                  <a:lnTo>
                    <a:pt x="285" y="321"/>
                  </a:lnTo>
                  <a:cubicBezTo>
                    <a:pt x="223" y="260"/>
                    <a:pt x="278" y="382"/>
                    <a:pt x="237" y="394"/>
                  </a:cubicBezTo>
                  <a:cubicBezTo>
                    <a:pt x="217" y="356"/>
                    <a:pt x="255" y="356"/>
                    <a:pt x="217" y="337"/>
                  </a:cubicBezTo>
                  <a:cubicBezTo>
                    <a:pt x="183" y="361"/>
                    <a:pt x="189" y="426"/>
                    <a:pt x="148" y="427"/>
                  </a:cubicBezTo>
                  <a:lnTo>
                    <a:pt x="147" y="408"/>
                  </a:lnTo>
                  <a:cubicBezTo>
                    <a:pt x="125" y="420"/>
                    <a:pt x="77" y="430"/>
                    <a:pt x="55" y="443"/>
                  </a:cubicBezTo>
                  <a:cubicBezTo>
                    <a:pt x="51" y="436"/>
                    <a:pt x="55" y="435"/>
                    <a:pt x="58" y="431"/>
                  </a:cubicBezTo>
                  <a:cubicBezTo>
                    <a:pt x="9" y="434"/>
                    <a:pt x="49" y="459"/>
                    <a:pt x="2" y="446"/>
                  </a:cubicBezTo>
                  <a:lnTo>
                    <a:pt x="0" y="470"/>
                  </a:lnTo>
                  <a:cubicBezTo>
                    <a:pt x="24" y="476"/>
                    <a:pt x="65" y="481"/>
                    <a:pt x="78" y="449"/>
                  </a:cubicBezTo>
                  <a:cubicBezTo>
                    <a:pt x="65" y="481"/>
                    <a:pt x="133" y="485"/>
                    <a:pt x="135" y="523"/>
                  </a:cubicBezTo>
                  <a:lnTo>
                    <a:pt x="134" y="508"/>
                  </a:lnTo>
                  <a:cubicBezTo>
                    <a:pt x="214" y="543"/>
                    <a:pt x="289" y="523"/>
                    <a:pt x="369" y="521"/>
                  </a:cubicBezTo>
                  <a:cubicBezTo>
                    <a:pt x="401" y="464"/>
                    <a:pt x="453" y="511"/>
                    <a:pt x="493" y="467"/>
                  </a:cubicBezTo>
                  <a:cubicBezTo>
                    <a:pt x="486" y="418"/>
                    <a:pt x="499" y="455"/>
                    <a:pt x="539" y="433"/>
                  </a:cubicBezTo>
                  <a:cubicBezTo>
                    <a:pt x="518" y="445"/>
                    <a:pt x="547" y="470"/>
                    <a:pt x="563" y="472"/>
                  </a:cubicBezTo>
                  <a:cubicBezTo>
                    <a:pt x="568" y="457"/>
                    <a:pt x="577" y="450"/>
                    <a:pt x="586" y="443"/>
                  </a:cubicBezTo>
                  <a:cubicBezTo>
                    <a:pt x="599" y="456"/>
                    <a:pt x="663" y="480"/>
                    <a:pt x="674" y="443"/>
                  </a:cubicBezTo>
                  <a:cubicBezTo>
                    <a:pt x="703" y="452"/>
                    <a:pt x="672" y="459"/>
                    <a:pt x="669" y="471"/>
                  </a:cubicBezTo>
                  <a:cubicBezTo>
                    <a:pt x="686" y="493"/>
                    <a:pt x="684" y="446"/>
                    <a:pt x="697" y="461"/>
                  </a:cubicBezTo>
                  <a:cubicBezTo>
                    <a:pt x="697" y="461"/>
                    <a:pt x="698" y="466"/>
                    <a:pt x="696" y="469"/>
                  </a:cubicBezTo>
                  <a:cubicBezTo>
                    <a:pt x="735" y="457"/>
                    <a:pt x="761" y="465"/>
                    <a:pt x="801" y="462"/>
                  </a:cubicBezTo>
                  <a:cubicBezTo>
                    <a:pt x="795" y="414"/>
                    <a:pt x="836" y="437"/>
                    <a:pt x="851" y="417"/>
                  </a:cubicBezTo>
                  <a:cubicBezTo>
                    <a:pt x="848" y="433"/>
                    <a:pt x="876" y="431"/>
                    <a:pt x="888" y="439"/>
                  </a:cubicBezTo>
                  <a:cubicBezTo>
                    <a:pt x="888" y="439"/>
                    <a:pt x="892" y="429"/>
                    <a:pt x="896" y="420"/>
                  </a:cubicBezTo>
                  <a:cubicBezTo>
                    <a:pt x="900" y="410"/>
                    <a:pt x="904" y="400"/>
                    <a:pt x="904" y="400"/>
                  </a:cubicBezTo>
                  <a:cubicBezTo>
                    <a:pt x="922" y="368"/>
                    <a:pt x="936" y="419"/>
                    <a:pt x="960" y="400"/>
                  </a:cubicBezTo>
                  <a:lnTo>
                    <a:pt x="953" y="392"/>
                  </a:lnTo>
                  <a:cubicBezTo>
                    <a:pt x="963" y="384"/>
                    <a:pt x="981" y="387"/>
                    <a:pt x="999" y="395"/>
                  </a:cubicBezTo>
                  <a:cubicBezTo>
                    <a:pt x="1007" y="399"/>
                    <a:pt x="1016" y="405"/>
                    <a:pt x="1024" y="411"/>
                  </a:cubicBezTo>
                  <a:cubicBezTo>
                    <a:pt x="1031" y="417"/>
                    <a:pt x="1037" y="424"/>
                    <a:pt x="1042" y="431"/>
                  </a:cubicBezTo>
                  <a:cubicBezTo>
                    <a:pt x="1128" y="385"/>
                    <a:pt x="1196" y="415"/>
                    <a:pt x="1245" y="459"/>
                  </a:cubicBezTo>
                  <a:cubicBezTo>
                    <a:pt x="1269" y="480"/>
                    <a:pt x="1289" y="506"/>
                    <a:pt x="1309" y="529"/>
                  </a:cubicBezTo>
                  <a:cubicBezTo>
                    <a:pt x="1328" y="553"/>
                    <a:pt x="1347" y="575"/>
                    <a:pt x="1372" y="595"/>
                  </a:cubicBezTo>
                  <a:cubicBezTo>
                    <a:pt x="1389" y="592"/>
                    <a:pt x="1387" y="574"/>
                    <a:pt x="1408" y="565"/>
                  </a:cubicBezTo>
                  <a:cubicBezTo>
                    <a:pt x="1422" y="574"/>
                    <a:pt x="1423" y="577"/>
                    <a:pt x="1431" y="588"/>
                  </a:cubicBezTo>
                  <a:cubicBezTo>
                    <a:pt x="1435" y="571"/>
                    <a:pt x="1422" y="582"/>
                    <a:pt x="1434" y="575"/>
                  </a:cubicBezTo>
                  <a:cubicBezTo>
                    <a:pt x="1434" y="575"/>
                    <a:pt x="1433" y="575"/>
                    <a:pt x="1431" y="574"/>
                  </a:cubicBezTo>
                  <a:cubicBezTo>
                    <a:pt x="1429" y="573"/>
                    <a:pt x="1425" y="572"/>
                    <a:pt x="1422" y="571"/>
                  </a:cubicBezTo>
                  <a:cubicBezTo>
                    <a:pt x="1416" y="569"/>
                    <a:pt x="1411" y="567"/>
                    <a:pt x="1411" y="567"/>
                  </a:cubicBezTo>
                  <a:cubicBezTo>
                    <a:pt x="1413" y="564"/>
                    <a:pt x="1415" y="565"/>
                    <a:pt x="1419" y="559"/>
                  </a:cubicBezTo>
                  <a:cubicBezTo>
                    <a:pt x="1412" y="555"/>
                    <a:pt x="1398" y="556"/>
                    <a:pt x="1394" y="547"/>
                  </a:cubicBezTo>
                  <a:cubicBezTo>
                    <a:pt x="1412" y="548"/>
                    <a:pt x="1443" y="528"/>
                    <a:pt x="1444" y="553"/>
                  </a:cubicBezTo>
                  <a:cubicBezTo>
                    <a:pt x="1439" y="554"/>
                    <a:pt x="1437" y="553"/>
                    <a:pt x="1431" y="551"/>
                  </a:cubicBezTo>
                  <a:cubicBezTo>
                    <a:pt x="1438" y="565"/>
                    <a:pt x="1453" y="556"/>
                    <a:pt x="1452" y="571"/>
                  </a:cubicBezTo>
                  <a:cubicBezTo>
                    <a:pt x="1453" y="588"/>
                    <a:pt x="1461" y="579"/>
                    <a:pt x="1448" y="589"/>
                  </a:cubicBezTo>
                  <a:cubicBezTo>
                    <a:pt x="1448" y="589"/>
                    <a:pt x="1449" y="592"/>
                    <a:pt x="1449" y="596"/>
                  </a:cubicBezTo>
                  <a:cubicBezTo>
                    <a:pt x="1450" y="601"/>
                    <a:pt x="1450" y="606"/>
                    <a:pt x="1451" y="612"/>
                  </a:cubicBezTo>
                  <a:cubicBezTo>
                    <a:pt x="1452" y="624"/>
                    <a:pt x="1452" y="636"/>
                    <a:pt x="1452" y="636"/>
                  </a:cubicBezTo>
                  <a:cubicBezTo>
                    <a:pt x="1476" y="637"/>
                    <a:pt x="1482" y="650"/>
                    <a:pt x="1480" y="662"/>
                  </a:cubicBezTo>
                  <a:cubicBezTo>
                    <a:pt x="1479" y="675"/>
                    <a:pt x="1471" y="687"/>
                    <a:pt x="1470" y="691"/>
                  </a:cubicBezTo>
                  <a:cubicBezTo>
                    <a:pt x="1438" y="696"/>
                    <a:pt x="1451" y="665"/>
                    <a:pt x="1418" y="668"/>
                  </a:cubicBezTo>
                  <a:cubicBezTo>
                    <a:pt x="1418" y="668"/>
                    <a:pt x="1414" y="673"/>
                    <a:pt x="1410" y="679"/>
                  </a:cubicBezTo>
                  <a:cubicBezTo>
                    <a:pt x="1405" y="684"/>
                    <a:pt x="1401" y="689"/>
                    <a:pt x="1401" y="689"/>
                  </a:cubicBezTo>
                  <a:lnTo>
                    <a:pt x="1426" y="681"/>
                  </a:lnTo>
                  <a:cubicBezTo>
                    <a:pt x="1426" y="681"/>
                    <a:pt x="1426" y="687"/>
                    <a:pt x="1426" y="693"/>
                  </a:cubicBezTo>
                  <a:cubicBezTo>
                    <a:pt x="1426" y="699"/>
                    <a:pt x="1426" y="704"/>
                    <a:pt x="1426" y="704"/>
                  </a:cubicBezTo>
                  <a:lnTo>
                    <a:pt x="1421" y="705"/>
                  </a:lnTo>
                  <a:cubicBezTo>
                    <a:pt x="1431" y="704"/>
                    <a:pt x="1442" y="704"/>
                    <a:pt x="1435" y="712"/>
                  </a:cubicBezTo>
                  <a:cubicBezTo>
                    <a:pt x="1431" y="714"/>
                    <a:pt x="1425" y="718"/>
                    <a:pt x="1423" y="716"/>
                  </a:cubicBezTo>
                  <a:cubicBezTo>
                    <a:pt x="1423" y="716"/>
                    <a:pt x="1428" y="719"/>
                    <a:pt x="1432" y="722"/>
                  </a:cubicBezTo>
                  <a:cubicBezTo>
                    <a:pt x="1437" y="725"/>
                    <a:pt x="1441" y="728"/>
                    <a:pt x="1441" y="728"/>
                  </a:cubicBezTo>
                  <a:cubicBezTo>
                    <a:pt x="1413" y="725"/>
                    <a:pt x="1437" y="745"/>
                    <a:pt x="1406" y="749"/>
                  </a:cubicBezTo>
                  <a:cubicBezTo>
                    <a:pt x="1404" y="777"/>
                    <a:pt x="1417" y="793"/>
                    <a:pt x="1427" y="810"/>
                  </a:cubicBezTo>
                  <a:cubicBezTo>
                    <a:pt x="1436" y="827"/>
                    <a:pt x="1443" y="844"/>
                    <a:pt x="1424" y="872"/>
                  </a:cubicBezTo>
                  <a:cubicBezTo>
                    <a:pt x="1438" y="862"/>
                    <a:pt x="1474" y="885"/>
                    <a:pt x="1469" y="902"/>
                  </a:cubicBezTo>
                  <a:cubicBezTo>
                    <a:pt x="1462" y="912"/>
                    <a:pt x="1455" y="914"/>
                    <a:pt x="1443" y="909"/>
                  </a:cubicBezTo>
                  <a:lnTo>
                    <a:pt x="1459" y="929"/>
                  </a:lnTo>
                  <a:cubicBezTo>
                    <a:pt x="1436" y="943"/>
                    <a:pt x="1431" y="955"/>
                    <a:pt x="1430" y="970"/>
                  </a:cubicBezTo>
                  <a:cubicBezTo>
                    <a:pt x="1429" y="983"/>
                    <a:pt x="1433" y="999"/>
                    <a:pt x="1423" y="1016"/>
                  </a:cubicBezTo>
                  <a:lnTo>
                    <a:pt x="1409" y="1013"/>
                  </a:lnTo>
                  <a:cubicBezTo>
                    <a:pt x="1417" y="1021"/>
                    <a:pt x="1423" y="1028"/>
                    <a:pt x="1427" y="1037"/>
                  </a:cubicBezTo>
                  <a:cubicBezTo>
                    <a:pt x="1430" y="1045"/>
                    <a:pt x="1432" y="1054"/>
                    <a:pt x="1427" y="1063"/>
                  </a:cubicBezTo>
                  <a:lnTo>
                    <a:pt x="1401" y="1055"/>
                  </a:lnTo>
                  <a:cubicBezTo>
                    <a:pt x="1379" y="1075"/>
                    <a:pt x="1455" y="1083"/>
                    <a:pt x="1432" y="1106"/>
                  </a:cubicBezTo>
                  <a:cubicBezTo>
                    <a:pt x="1460" y="1113"/>
                    <a:pt x="1479" y="1098"/>
                    <a:pt x="1506" y="1101"/>
                  </a:cubicBezTo>
                  <a:cubicBezTo>
                    <a:pt x="1476" y="1102"/>
                    <a:pt x="1465" y="1130"/>
                    <a:pt x="1487" y="1128"/>
                  </a:cubicBezTo>
                  <a:cubicBezTo>
                    <a:pt x="1491" y="1160"/>
                    <a:pt x="1481" y="1148"/>
                    <a:pt x="1474" y="1148"/>
                  </a:cubicBezTo>
                  <a:cubicBezTo>
                    <a:pt x="1474" y="1148"/>
                    <a:pt x="1477" y="1153"/>
                    <a:pt x="1480" y="1159"/>
                  </a:cubicBezTo>
                  <a:cubicBezTo>
                    <a:pt x="1483" y="1164"/>
                    <a:pt x="1486" y="1169"/>
                    <a:pt x="1486" y="1169"/>
                  </a:cubicBezTo>
                  <a:cubicBezTo>
                    <a:pt x="1479" y="1188"/>
                    <a:pt x="1448" y="1163"/>
                    <a:pt x="1434" y="1152"/>
                  </a:cubicBezTo>
                  <a:cubicBezTo>
                    <a:pt x="1446" y="1165"/>
                    <a:pt x="1446" y="1175"/>
                    <a:pt x="1440" y="1183"/>
                  </a:cubicBezTo>
                  <a:cubicBezTo>
                    <a:pt x="1435" y="1191"/>
                    <a:pt x="1425" y="1198"/>
                    <a:pt x="1419" y="1206"/>
                  </a:cubicBezTo>
                  <a:lnTo>
                    <a:pt x="1410" y="1194"/>
                  </a:lnTo>
                  <a:cubicBezTo>
                    <a:pt x="1410" y="1194"/>
                    <a:pt x="1406" y="1199"/>
                    <a:pt x="1403" y="1204"/>
                  </a:cubicBezTo>
                  <a:cubicBezTo>
                    <a:pt x="1401" y="1206"/>
                    <a:pt x="1399" y="1209"/>
                    <a:pt x="1398" y="1211"/>
                  </a:cubicBezTo>
                  <a:cubicBezTo>
                    <a:pt x="1396" y="1213"/>
                    <a:pt x="1395" y="1214"/>
                    <a:pt x="1395" y="1214"/>
                  </a:cubicBezTo>
                  <a:cubicBezTo>
                    <a:pt x="1409" y="1238"/>
                    <a:pt x="1400" y="1260"/>
                    <a:pt x="1378" y="1271"/>
                  </a:cubicBezTo>
                  <a:cubicBezTo>
                    <a:pt x="1378" y="1271"/>
                    <a:pt x="1372" y="1263"/>
                    <a:pt x="1366" y="1255"/>
                  </a:cubicBezTo>
                  <a:cubicBezTo>
                    <a:pt x="1360" y="1247"/>
                    <a:pt x="1353" y="1239"/>
                    <a:pt x="1353" y="1239"/>
                  </a:cubicBezTo>
                  <a:cubicBezTo>
                    <a:pt x="1329" y="1240"/>
                    <a:pt x="1361" y="1252"/>
                    <a:pt x="1364" y="1258"/>
                  </a:cubicBezTo>
                  <a:cubicBezTo>
                    <a:pt x="1368" y="1287"/>
                    <a:pt x="1343" y="1277"/>
                    <a:pt x="1319" y="1272"/>
                  </a:cubicBezTo>
                  <a:cubicBezTo>
                    <a:pt x="1325" y="1298"/>
                    <a:pt x="1301" y="1302"/>
                    <a:pt x="1280" y="1304"/>
                  </a:cubicBezTo>
                  <a:cubicBezTo>
                    <a:pt x="1270" y="1305"/>
                    <a:pt x="1260" y="1306"/>
                    <a:pt x="1254" y="1311"/>
                  </a:cubicBezTo>
                  <a:cubicBezTo>
                    <a:pt x="1248" y="1316"/>
                    <a:pt x="1245" y="1324"/>
                    <a:pt x="1249" y="13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278">
              <a:extLst>
                <a:ext uri="{FF2B5EF4-FFF2-40B4-BE49-F238E27FC236}">
                  <a16:creationId xmlns:a16="http://schemas.microsoft.com/office/drawing/2014/main" id="{26C4E685-6176-4F1E-A3D2-B4348BA8AFD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0" y="907"/>
              <a:ext cx="1" cy="0"/>
            </a:xfrm>
            <a:custGeom>
              <a:avLst/>
              <a:gdLst>
                <a:gd name="T0" fmla="*/ 1 w 2"/>
                <a:gd name="T1" fmla="*/ 1 h 1"/>
                <a:gd name="T2" fmla="*/ 1 w 2"/>
                <a:gd name="T3" fmla="*/ 1 h 1"/>
                <a:gd name="T4" fmla="*/ 1 w 2"/>
                <a:gd name="T5" fmla="*/ 0 h 1"/>
                <a:gd name="T6" fmla="*/ 1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lnTo>
                    <a:pt x="1" y="1"/>
                  </a:lnTo>
                  <a:cubicBezTo>
                    <a:pt x="0" y="0"/>
                    <a:pt x="2" y="0"/>
                    <a:pt x="1" y="0"/>
                  </a:cubicBezTo>
                  <a:cubicBezTo>
                    <a:pt x="0" y="0"/>
                    <a:pt x="0" y="0"/>
                    <a:pt x="1" y="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279">
              <a:extLst>
                <a:ext uri="{FF2B5EF4-FFF2-40B4-BE49-F238E27FC236}">
                  <a16:creationId xmlns:a16="http://schemas.microsoft.com/office/drawing/2014/main" id="{9748068E-9773-4BC0-8B65-A3C287AC4A2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9" y="888"/>
              <a:ext cx="6" cy="1"/>
            </a:xfrm>
            <a:custGeom>
              <a:avLst/>
              <a:gdLst>
                <a:gd name="T0" fmla="*/ 35 w 35"/>
                <a:gd name="T1" fmla="*/ 2 h 5"/>
                <a:gd name="T2" fmla="*/ 35 w 35"/>
                <a:gd name="T3" fmla="*/ 2 h 5"/>
                <a:gd name="T4" fmla="*/ 0 w 35"/>
                <a:gd name="T5" fmla="*/ 3 h 5"/>
                <a:gd name="T6" fmla="*/ 35 w 35"/>
                <a:gd name="T7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5">
                  <a:moveTo>
                    <a:pt x="35" y="2"/>
                  </a:moveTo>
                  <a:lnTo>
                    <a:pt x="35" y="2"/>
                  </a:lnTo>
                  <a:cubicBezTo>
                    <a:pt x="31" y="0"/>
                    <a:pt x="17" y="1"/>
                    <a:pt x="0" y="3"/>
                  </a:cubicBezTo>
                  <a:cubicBezTo>
                    <a:pt x="10" y="4"/>
                    <a:pt x="21" y="5"/>
                    <a:pt x="35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280">
              <a:extLst>
                <a:ext uri="{FF2B5EF4-FFF2-40B4-BE49-F238E27FC236}">
                  <a16:creationId xmlns:a16="http://schemas.microsoft.com/office/drawing/2014/main" id="{5E3620B2-2B12-49DA-8D58-7F067A2279BB}"/>
                </a:ext>
              </a:extLst>
            </p:cNvPr>
            <p:cNvSpPr>
              <a:spLocks/>
            </p:cNvSpPr>
            <p:nvPr/>
          </p:nvSpPr>
          <p:spPr bwMode="gray">
            <a:xfrm>
              <a:off x="2536" y="1199"/>
              <a:ext cx="16" cy="10"/>
            </a:xfrm>
            <a:custGeom>
              <a:avLst/>
              <a:gdLst>
                <a:gd name="T0" fmla="*/ 62 w 86"/>
                <a:gd name="T1" fmla="*/ 23 h 57"/>
                <a:gd name="T2" fmla="*/ 62 w 86"/>
                <a:gd name="T3" fmla="*/ 23 h 57"/>
                <a:gd name="T4" fmla="*/ 73 w 86"/>
                <a:gd name="T5" fmla="*/ 21 h 57"/>
                <a:gd name="T6" fmla="*/ 60 w 86"/>
                <a:gd name="T7" fmla="*/ 0 h 57"/>
                <a:gd name="T8" fmla="*/ 0 w 86"/>
                <a:gd name="T9" fmla="*/ 50 h 57"/>
                <a:gd name="T10" fmla="*/ 86 w 86"/>
                <a:gd name="T11" fmla="*/ 57 h 57"/>
                <a:gd name="T12" fmla="*/ 74 w 86"/>
                <a:gd name="T13" fmla="*/ 40 h 57"/>
                <a:gd name="T14" fmla="*/ 62 w 86"/>
                <a:gd name="T15" fmla="*/ 23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57">
                  <a:moveTo>
                    <a:pt x="62" y="23"/>
                  </a:moveTo>
                  <a:lnTo>
                    <a:pt x="62" y="23"/>
                  </a:lnTo>
                  <a:lnTo>
                    <a:pt x="73" y="21"/>
                  </a:lnTo>
                  <a:lnTo>
                    <a:pt x="60" y="0"/>
                  </a:lnTo>
                  <a:cubicBezTo>
                    <a:pt x="25" y="7"/>
                    <a:pt x="16" y="28"/>
                    <a:pt x="0" y="50"/>
                  </a:cubicBezTo>
                  <a:cubicBezTo>
                    <a:pt x="35" y="36"/>
                    <a:pt x="48" y="53"/>
                    <a:pt x="86" y="57"/>
                  </a:cubicBezTo>
                  <a:cubicBezTo>
                    <a:pt x="86" y="57"/>
                    <a:pt x="80" y="49"/>
                    <a:pt x="74" y="40"/>
                  </a:cubicBezTo>
                  <a:cubicBezTo>
                    <a:pt x="68" y="31"/>
                    <a:pt x="62" y="23"/>
                    <a:pt x="62" y="2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281">
              <a:extLst>
                <a:ext uri="{FF2B5EF4-FFF2-40B4-BE49-F238E27FC236}">
                  <a16:creationId xmlns:a16="http://schemas.microsoft.com/office/drawing/2014/main" id="{EE24BA42-7E7E-4228-899F-546CD37600A9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2" y="1234"/>
              <a:ext cx="3" cy="5"/>
            </a:xfrm>
            <a:custGeom>
              <a:avLst/>
              <a:gdLst>
                <a:gd name="T0" fmla="*/ 0 w 20"/>
                <a:gd name="T1" fmla="*/ 0 h 29"/>
                <a:gd name="T2" fmla="*/ 0 w 20"/>
                <a:gd name="T3" fmla="*/ 0 h 29"/>
                <a:gd name="T4" fmla="*/ 10 w 20"/>
                <a:gd name="T5" fmla="*/ 29 h 29"/>
                <a:gd name="T6" fmla="*/ 20 w 20"/>
                <a:gd name="T7" fmla="*/ 15 h 29"/>
                <a:gd name="T8" fmla="*/ 10 w 20"/>
                <a:gd name="T9" fmla="*/ 8 h 29"/>
                <a:gd name="T10" fmla="*/ 0 w 20"/>
                <a:gd name="T1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9">
                  <a:moveTo>
                    <a:pt x="0" y="0"/>
                  </a:moveTo>
                  <a:lnTo>
                    <a:pt x="0" y="0"/>
                  </a:lnTo>
                  <a:cubicBezTo>
                    <a:pt x="2" y="7"/>
                    <a:pt x="6" y="26"/>
                    <a:pt x="10" y="29"/>
                  </a:cubicBezTo>
                  <a:lnTo>
                    <a:pt x="20" y="15"/>
                  </a:lnTo>
                  <a:cubicBezTo>
                    <a:pt x="20" y="15"/>
                    <a:pt x="15" y="12"/>
                    <a:pt x="10" y="8"/>
                  </a:cubicBezTo>
                  <a:cubicBezTo>
                    <a:pt x="5" y="4"/>
                    <a:pt x="0" y="0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282">
              <a:extLst>
                <a:ext uri="{FF2B5EF4-FFF2-40B4-BE49-F238E27FC236}">
                  <a16:creationId xmlns:a16="http://schemas.microsoft.com/office/drawing/2014/main" id="{40C26C5F-29D0-40F6-9EA7-A1A83F9F62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607" y="1258"/>
              <a:ext cx="9" cy="7"/>
            </a:xfrm>
            <a:custGeom>
              <a:avLst/>
              <a:gdLst>
                <a:gd name="T0" fmla="*/ 45 w 45"/>
                <a:gd name="T1" fmla="*/ 17 h 41"/>
                <a:gd name="T2" fmla="*/ 45 w 45"/>
                <a:gd name="T3" fmla="*/ 17 h 41"/>
                <a:gd name="T4" fmla="*/ 29 w 45"/>
                <a:gd name="T5" fmla="*/ 8 h 41"/>
                <a:gd name="T6" fmla="*/ 12 w 45"/>
                <a:gd name="T7" fmla="*/ 0 h 41"/>
                <a:gd name="T8" fmla="*/ 45 w 45"/>
                <a:gd name="T9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1">
                  <a:moveTo>
                    <a:pt x="45" y="17"/>
                  </a:moveTo>
                  <a:lnTo>
                    <a:pt x="45" y="17"/>
                  </a:lnTo>
                  <a:cubicBezTo>
                    <a:pt x="45" y="17"/>
                    <a:pt x="37" y="13"/>
                    <a:pt x="29" y="8"/>
                  </a:cubicBezTo>
                  <a:cubicBezTo>
                    <a:pt x="20" y="4"/>
                    <a:pt x="12" y="0"/>
                    <a:pt x="12" y="0"/>
                  </a:cubicBezTo>
                  <a:cubicBezTo>
                    <a:pt x="0" y="13"/>
                    <a:pt x="37" y="41"/>
                    <a:pt x="45" y="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283">
              <a:extLst>
                <a:ext uri="{FF2B5EF4-FFF2-40B4-BE49-F238E27FC236}">
                  <a16:creationId xmlns:a16="http://schemas.microsoft.com/office/drawing/2014/main" id="{4801405A-1060-4BF5-915C-75458D6AFA6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92" y="1208"/>
              <a:ext cx="7" cy="6"/>
            </a:xfrm>
            <a:custGeom>
              <a:avLst/>
              <a:gdLst>
                <a:gd name="T0" fmla="*/ 18 w 38"/>
                <a:gd name="T1" fmla="*/ 0 h 32"/>
                <a:gd name="T2" fmla="*/ 18 w 38"/>
                <a:gd name="T3" fmla="*/ 0 h 32"/>
                <a:gd name="T4" fmla="*/ 0 w 38"/>
                <a:gd name="T5" fmla="*/ 15 h 32"/>
                <a:gd name="T6" fmla="*/ 38 w 38"/>
                <a:gd name="T7" fmla="*/ 13 h 32"/>
                <a:gd name="T8" fmla="*/ 18 w 38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2">
                  <a:moveTo>
                    <a:pt x="18" y="0"/>
                  </a:moveTo>
                  <a:lnTo>
                    <a:pt x="18" y="0"/>
                  </a:lnTo>
                  <a:lnTo>
                    <a:pt x="0" y="15"/>
                  </a:lnTo>
                  <a:cubicBezTo>
                    <a:pt x="12" y="31"/>
                    <a:pt x="32" y="32"/>
                    <a:pt x="38" y="13"/>
                  </a:cubicBezTo>
                  <a:cubicBezTo>
                    <a:pt x="17" y="21"/>
                    <a:pt x="34" y="2"/>
                    <a:pt x="1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284">
              <a:extLst>
                <a:ext uri="{FF2B5EF4-FFF2-40B4-BE49-F238E27FC236}">
                  <a16:creationId xmlns:a16="http://schemas.microsoft.com/office/drawing/2014/main" id="{2EA031EE-969A-4F09-9957-082D71173C36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" y="1257"/>
              <a:ext cx="7" cy="8"/>
            </a:xfrm>
            <a:custGeom>
              <a:avLst/>
              <a:gdLst>
                <a:gd name="T0" fmla="*/ 0 w 40"/>
                <a:gd name="T1" fmla="*/ 31 h 46"/>
                <a:gd name="T2" fmla="*/ 0 w 40"/>
                <a:gd name="T3" fmla="*/ 31 h 46"/>
                <a:gd name="T4" fmla="*/ 40 w 40"/>
                <a:gd name="T5" fmla="*/ 17 h 46"/>
                <a:gd name="T6" fmla="*/ 0 w 40"/>
                <a:gd name="T7" fmla="*/ 3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6">
                  <a:moveTo>
                    <a:pt x="0" y="31"/>
                  </a:moveTo>
                  <a:lnTo>
                    <a:pt x="0" y="31"/>
                  </a:lnTo>
                  <a:cubicBezTo>
                    <a:pt x="12" y="0"/>
                    <a:pt x="32" y="46"/>
                    <a:pt x="40" y="17"/>
                  </a:cubicBezTo>
                  <a:cubicBezTo>
                    <a:pt x="31" y="25"/>
                    <a:pt x="3" y="0"/>
                    <a:pt x="0" y="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285">
              <a:extLst>
                <a:ext uri="{FF2B5EF4-FFF2-40B4-BE49-F238E27FC236}">
                  <a16:creationId xmlns:a16="http://schemas.microsoft.com/office/drawing/2014/main" id="{8466C95E-DA5B-4E7A-B160-5C82046962E8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3" y="1203"/>
              <a:ext cx="8" cy="9"/>
            </a:xfrm>
            <a:custGeom>
              <a:avLst/>
              <a:gdLst>
                <a:gd name="T0" fmla="*/ 44 w 44"/>
                <a:gd name="T1" fmla="*/ 30 h 50"/>
                <a:gd name="T2" fmla="*/ 44 w 44"/>
                <a:gd name="T3" fmla="*/ 30 h 50"/>
                <a:gd name="T4" fmla="*/ 0 w 44"/>
                <a:gd name="T5" fmla="*/ 17 h 50"/>
                <a:gd name="T6" fmla="*/ 44 w 44"/>
                <a:gd name="T7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50">
                  <a:moveTo>
                    <a:pt x="44" y="30"/>
                  </a:moveTo>
                  <a:lnTo>
                    <a:pt x="44" y="30"/>
                  </a:lnTo>
                  <a:cubicBezTo>
                    <a:pt x="36" y="0"/>
                    <a:pt x="19" y="25"/>
                    <a:pt x="0" y="17"/>
                  </a:cubicBezTo>
                  <a:cubicBezTo>
                    <a:pt x="16" y="18"/>
                    <a:pt x="36" y="50"/>
                    <a:pt x="44" y="3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286">
              <a:extLst>
                <a:ext uri="{FF2B5EF4-FFF2-40B4-BE49-F238E27FC236}">
                  <a16:creationId xmlns:a16="http://schemas.microsoft.com/office/drawing/2014/main" id="{870EC3D6-D3BD-47F5-9FC6-D00AEC582DE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53" y="1246"/>
              <a:ext cx="15" cy="14"/>
            </a:xfrm>
            <a:custGeom>
              <a:avLst/>
              <a:gdLst>
                <a:gd name="T0" fmla="*/ 63 w 81"/>
                <a:gd name="T1" fmla="*/ 5 h 77"/>
                <a:gd name="T2" fmla="*/ 63 w 81"/>
                <a:gd name="T3" fmla="*/ 5 h 77"/>
                <a:gd name="T4" fmla="*/ 32 w 81"/>
                <a:gd name="T5" fmla="*/ 21 h 77"/>
                <a:gd name="T6" fmla="*/ 48 w 81"/>
                <a:gd name="T7" fmla="*/ 0 h 77"/>
                <a:gd name="T8" fmla="*/ 0 w 81"/>
                <a:gd name="T9" fmla="*/ 23 h 77"/>
                <a:gd name="T10" fmla="*/ 47 w 81"/>
                <a:gd name="T11" fmla="*/ 77 h 77"/>
                <a:gd name="T12" fmla="*/ 63 w 81"/>
                <a:gd name="T13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77">
                  <a:moveTo>
                    <a:pt x="63" y="5"/>
                  </a:moveTo>
                  <a:lnTo>
                    <a:pt x="63" y="5"/>
                  </a:lnTo>
                  <a:cubicBezTo>
                    <a:pt x="61" y="28"/>
                    <a:pt x="47" y="26"/>
                    <a:pt x="32" y="21"/>
                  </a:cubicBezTo>
                  <a:cubicBezTo>
                    <a:pt x="37" y="14"/>
                    <a:pt x="41" y="3"/>
                    <a:pt x="48" y="0"/>
                  </a:cubicBezTo>
                  <a:cubicBezTo>
                    <a:pt x="22" y="17"/>
                    <a:pt x="20" y="13"/>
                    <a:pt x="0" y="23"/>
                  </a:cubicBezTo>
                  <a:cubicBezTo>
                    <a:pt x="20" y="39"/>
                    <a:pt x="50" y="50"/>
                    <a:pt x="47" y="77"/>
                  </a:cubicBezTo>
                  <a:cubicBezTo>
                    <a:pt x="62" y="57"/>
                    <a:pt x="81" y="26"/>
                    <a:pt x="63" y="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287">
              <a:extLst>
                <a:ext uri="{FF2B5EF4-FFF2-40B4-BE49-F238E27FC236}">
                  <a16:creationId xmlns:a16="http://schemas.microsoft.com/office/drawing/2014/main" id="{86D328AB-8A4D-45EF-A6BA-7678F2E8AD2C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1203"/>
              <a:ext cx="8" cy="15"/>
            </a:xfrm>
            <a:custGeom>
              <a:avLst/>
              <a:gdLst>
                <a:gd name="T0" fmla="*/ 43 w 43"/>
                <a:gd name="T1" fmla="*/ 30 h 81"/>
                <a:gd name="T2" fmla="*/ 43 w 43"/>
                <a:gd name="T3" fmla="*/ 30 h 81"/>
                <a:gd name="T4" fmla="*/ 0 w 43"/>
                <a:gd name="T5" fmla="*/ 0 h 81"/>
                <a:gd name="T6" fmla="*/ 30 w 43"/>
                <a:gd name="T7" fmla="*/ 36 h 81"/>
                <a:gd name="T8" fmla="*/ 21 w 43"/>
                <a:gd name="T9" fmla="*/ 61 h 81"/>
                <a:gd name="T10" fmla="*/ 43 w 43"/>
                <a:gd name="T11" fmla="*/ 3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81">
                  <a:moveTo>
                    <a:pt x="43" y="30"/>
                  </a:moveTo>
                  <a:lnTo>
                    <a:pt x="43" y="30"/>
                  </a:lnTo>
                  <a:cubicBezTo>
                    <a:pt x="28" y="20"/>
                    <a:pt x="19" y="0"/>
                    <a:pt x="0" y="0"/>
                  </a:cubicBezTo>
                  <a:cubicBezTo>
                    <a:pt x="3" y="16"/>
                    <a:pt x="8" y="39"/>
                    <a:pt x="30" y="36"/>
                  </a:cubicBezTo>
                  <a:lnTo>
                    <a:pt x="21" y="61"/>
                  </a:lnTo>
                  <a:cubicBezTo>
                    <a:pt x="41" y="81"/>
                    <a:pt x="15" y="27"/>
                    <a:pt x="43" y="3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288">
              <a:extLst>
                <a:ext uri="{FF2B5EF4-FFF2-40B4-BE49-F238E27FC236}">
                  <a16:creationId xmlns:a16="http://schemas.microsoft.com/office/drawing/2014/main" id="{A6D74642-7BCB-4B7E-B5F5-65C6E1E1F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7" y="1256"/>
              <a:ext cx="14" cy="8"/>
            </a:xfrm>
            <a:custGeom>
              <a:avLst/>
              <a:gdLst>
                <a:gd name="T0" fmla="*/ 78 w 78"/>
                <a:gd name="T1" fmla="*/ 12 h 43"/>
                <a:gd name="T2" fmla="*/ 78 w 78"/>
                <a:gd name="T3" fmla="*/ 12 h 43"/>
                <a:gd name="T4" fmla="*/ 68 w 78"/>
                <a:gd name="T5" fmla="*/ 0 h 43"/>
                <a:gd name="T6" fmla="*/ 0 w 78"/>
                <a:gd name="T7" fmla="*/ 43 h 43"/>
                <a:gd name="T8" fmla="*/ 78 w 78"/>
                <a:gd name="T9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43">
                  <a:moveTo>
                    <a:pt x="78" y="12"/>
                  </a:moveTo>
                  <a:lnTo>
                    <a:pt x="78" y="12"/>
                  </a:lnTo>
                  <a:lnTo>
                    <a:pt x="68" y="0"/>
                  </a:lnTo>
                  <a:cubicBezTo>
                    <a:pt x="45" y="20"/>
                    <a:pt x="14" y="10"/>
                    <a:pt x="0" y="43"/>
                  </a:cubicBezTo>
                  <a:cubicBezTo>
                    <a:pt x="29" y="41"/>
                    <a:pt x="65" y="27"/>
                    <a:pt x="78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289">
              <a:extLst>
                <a:ext uri="{FF2B5EF4-FFF2-40B4-BE49-F238E27FC236}">
                  <a16:creationId xmlns:a16="http://schemas.microsoft.com/office/drawing/2014/main" id="{4A6C3B98-C7B2-4DAD-A093-19DCCE93C304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9" y="1210"/>
              <a:ext cx="6" cy="10"/>
            </a:xfrm>
            <a:custGeom>
              <a:avLst/>
              <a:gdLst>
                <a:gd name="T0" fmla="*/ 24 w 29"/>
                <a:gd name="T1" fmla="*/ 41 h 53"/>
                <a:gd name="T2" fmla="*/ 24 w 29"/>
                <a:gd name="T3" fmla="*/ 41 h 53"/>
                <a:gd name="T4" fmla="*/ 28 w 29"/>
                <a:gd name="T5" fmla="*/ 6 h 53"/>
                <a:gd name="T6" fmla="*/ 21 w 29"/>
                <a:gd name="T7" fmla="*/ 26 h 53"/>
                <a:gd name="T8" fmla="*/ 0 w 29"/>
                <a:gd name="T9" fmla="*/ 24 h 53"/>
                <a:gd name="T10" fmla="*/ 24 w 29"/>
                <a:gd name="T11" fmla="*/ 4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53">
                  <a:moveTo>
                    <a:pt x="24" y="41"/>
                  </a:moveTo>
                  <a:lnTo>
                    <a:pt x="24" y="41"/>
                  </a:lnTo>
                  <a:lnTo>
                    <a:pt x="28" y="6"/>
                  </a:lnTo>
                  <a:cubicBezTo>
                    <a:pt x="5" y="0"/>
                    <a:pt x="29" y="18"/>
                    <a:pt x="21" y="26"/>
                  </a:cubicBezTo>
                  <a:cubicBezTo>
                    <a:pt x="15" y="21"/>
                    <a:pt x="5" y="17"/>
                    <a:pt x="0" y="24"/>
                  </a:cubicBezTo>
                  <a:cubicBezTo>
                    <a:pt x="26" y="19"/>
                    <a:pt x="1" y="53"/>
                    <a:pt x="24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290">
              <a:extLst>
                <a:ext uri="{FF2B5EF4-FFF2-40B4-BE49-F238E27FC236}">
                  <a16:creationId xmlns:a16="http://schemas.microsoft.com/office/drawing/2014/main" id="{7F6CBEDB-3867-429C-AE18-4A93B4659824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2" y="1200"/>
              <a:ext cx="11" cy="10"/>
            </a:xfrm>
            <a:custGeom>
              <a:avLst/>
              <a:gdLst>
                <a:gd name="T0" fmla="*/ 27 w 56"/>
                <a:gd name="T1" fmla="*/ 55 h 55"/>
                <a:gd name="T2" fmla="*/ 27 w 56"/>
                <a:gd name="T3" fmla="*/ 55 h 55"/>
                <a:gd name="T4" fmla="*/ 56 w 56"/>
                <a:gd name="T5" fmla="*/ 40 h 55"/>
                <a:gd name="T6" fmla="*/ 34 w 56"/>
                <a:gd name="T7" fmla="*/ 0 h 55"/>
                <a:gd name="T8" fmla="*/ 27 w 56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5">
                  <a:moveTo>
                    <a:pt x="27" y="55"/>
                  </a:moveTo>
                  <a:lnTo>
                    <a:pt x="27" y="55"/>
                  </a:lnTo>
                  <a:lnTo>
                    <a:pt x="56" y="40"/>
                  </a:lnTo>
                  <a:lnTo>
                    <a:pt x="34" y="0"/>
                  </a:lnTo>
                  <a:cubicBezTo>
                    <a:pt x="0" y="14"/>
                    <a:pt x="32" y="23"/>
                    <a:pt x="27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291">
              <a:extLst>
                <a:ext uri="{FF2B5EF4-FFF2-40B4-BE49-F238E27FC236}">
                  <a16:creationId xmlns:a16="http://schemas.microsoft.com/office/drawing/2014/main" id="{E1C73CE8-17BE-4251-B0C2-8D916EE02F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4" y="1206"/>
              <a:ext cx="9" cy="10"/>
            </a:xfrm>
            <a:custGeom>
              <a:avLst/>
              <a:gdLst>
                <a:gd name="T0" fmla="*/ 0 w 47"/>
                <a:gd name="T1" fmla="*/ 46 h 53"/>
                <a:gd name="T2" fmla="*/ 0 w 47"/>
                <a:gd name="T3" fmla="*/ 46 h 53"/>
                <a:gd name="T4" fmla="*/ 3 w 47"/>
                <a:gd name="T5" fmla="*/ 53 h 53"/>
                <a:gd name="T6" fmla="*/ 47 w 47"/>
                <a:gd name="T7" fmla="*/ 0 h 53"/>
                <a:gd name="T8" fmla="*/ 0 w 47"/>
                <a:gd name="T9" fmla="*/ 4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53">
                  <a:moveTo>
                    <a:pt x="0" y="46"/>
                  </a:moveTo>
                  <a:lnTo>
                    <a:pt x="0" y="46"/>
                  </a:lnTo>
                  <a:lnTo>
                    <a:pt x="3" y="53"/>
                  </a:lnTo>
                  <a:lnTo>
                    <a:pt x="47" y="0"/>
                  </a:lnTo>
                  <a:cubicBezTo>
                    <a:pt x="21" y="22"/>
                    <a:pt x="19" y="19"/>
                    <a:pt x="0" y="4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292">
              <a:extLst>
                <a:ext uri="{FF2B5EF4-FFF2-40B4-BE49-F238E27FC236}">
                  <a16:creationId xmlns:a16="http://schemas.microsoft.com/office/drawing/2014/main" id="{E547BA22-2546-48D3-A4EA-81DCEF203FD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81" y="1224"/>
              <a:ext cx="10" cy="4"/>
            </a:xfrm>
            <a:custGeom>
              <a:avLst/>
              <a:gdLst>
                <a:gd name="T0" fmla="*/ 45 w 59"/>
                <a:gd name="T1" fmla="*/ 15 h 21"/>
                <a:gd name="T2" fmla="*/ 45 w 59"/>
                <a:gd name="T3" fmla="*/ 15 h 21"/>
                <a:gd name="T4" fmla="*/ 23 w 59"/>
                <a:gd name="T5" fmla="*/ 14 h 21"/>
                <a:gd name="T6" fmla="*/ 47 w 59"/>
                <a:gd name="T7" fmla="*/ 15 h 21"/>
                <a:gd name="T8" fmla="*/ 45 w 59"/>
                <a:gd name="T9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1">
                  <a:moveTo>
                    <a:pt x="45" y="15"/>
                  </a:moveTo>
                  <a:lnTo>
                    <a:pt x="45" y="15"/>
                  </a:lnTo>
                  <a:cubicBezTo>
                    <a:pt x="37" y="0"/>
                    <a:pt x="0" y="15"/>
                    <a:pt x="23" y="14"/>
                  </a:cubicBezTo>
                  <a:cubicBezTo>
                    <a:pt x="26" y="21"/>
                    <a:pt x="38" y="19"/>
                    <a:pt x="47" y="15"/>
                  </a:cubicBezTo>
                  <a:cubicBezTo>
                    <a:pt x="55" y="12"/>
                    <a:pt x="59" y="9"/>
                    <a:pt x="45" y="1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293">
              <a:extLst>
                <a:ext uri="{FF2B5EF4-FFF2-40B4-BE49-F238E27FC236}">
                  <a16:creationId xmlns:a16="http://schemas.microsoft.com/office/drawing/2014/main" id="{5399C56C-23EF-440E-87A9-0DF0C611EF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9" y="1194"/>
              <a:ext cx="4" cy="7"/>
            </a:xfrm>
            <a:custGeom>
              <a:avLst/>
              <a:gdLst>
                <a:gd name="T0" fmla="*/ 3 w 17"/>
                <a:gd name="T1" fmla="*/ 37 h 38"/>
                <a:gd name="T2" fmla="*/ 3 w 17"/>
                <a:gd name="T3" fmla="*/ 37 h 38"/>
                <a:gd name="T4" fmla="*/ 7 w 17"/>
                <a:gd name="T5" fmla="*/ 38 h 38"/>
                <a:gd name="T6" fmla="*/ 16 w 17"/>
                <a:gd name="T7" fmla="*/ 23 h 38"/>
                <a:gd name="T8" fmla="*/ 16 w 17"/>
                <a:gd name="T9" fmla="*/ 0 h 38"/>
                <a:gd name="T10" fmla="*/ 0 w 17"/>
                <a:gd name="T11" fmla="*/ 27 h 38"/>
                <a:gd name="T12" fmla="*/ 3 w 17"/>
                <a:gd name="T13" fmla="*/ 3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38">
                  <a:moveTo>
                    <a:pt x="3" y="37"/>
                  </a:moveTo>
                  <a:lnTo>
                    <a:pt x="3" y="37"/>
                  </a:lnTo>
                  <a:cubicBezTo>
                    <a:pt x="4" y="38"/>
                    <a:pt x="5" y="38"/>
                    <a:pt x="7" y="38"/>
                  </a:cubicBezTo>
                  <a:cubicBezTo>
                    <a:pt x="11" y="37"/>
                    <a:pt x="15" y="31"/>
                    <a:pt x="16" y="23"/>
                  </a:cubicBezTo>
                  <a:cubicBezTo>
                    <a:pt x="17" y="15"/>
                    <a:pt x="17" y="6"/>
                    <a:pt x="16" y="0"/>
                  </a:cubicBezTo>
                  <a:cubicBezTo>
                    <a:pt x="15" y="10"/>
                    <a:pt x="1" y="17"/>
                    <a:pt x="0" y="27"/>
                  </a:cubicBezTo>
                  <a:cubicBezTo>
                    <a:pt x="0" y="30"/>
                    <a:pt x="0" y="33"/>
                    <a:pt x="3" y="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294">
              <a:extLst>
                <a:ext uri="{FF2B5EF4-FFF2-40B4-BE49-F238E27FC236}">
                  <a16:creationId xmlns:a16="http://schemas.microsoft.com/office/drawing/2014/main" id="{29DB57C5-3665-4376-920C-DBF36C6F1893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2" y="1193"/>
              <a:ext cx="0" cy="1"/>
            </a:xfrm>
            <a:custGeom>
              <a:avLst/>
              <a:gdLst>
                <a:gd name="T0" fmla="*/ 0 w 1"/>
                <a:gd name="T1" fmla="*/ 0 h 5"/>
                <a:gd name="T2" fmla="*/ 0 w 1"/>
                <a:gd name="T3" fmla="*/ 0 h 5"/>
                <a:gd name="T4" fmla="*/ 1 w 1"/>
                <a:gd name="T5" fmla="*/ 5 h 5"/>
                <a:gd name="T6" fmla="*/ 0 w 1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5">
                  <a:moveTo>
                    <a:pt x="0" y="0"/>
                  </a:moveTo>
                  <a:lnTo>
                    <a:pt x="0" y="0"/>
                  </a:lnTo>
                  <a:cubicBezTo>
                    <a:pt x="0" y="1"/>
                    <a:pt x="0" y="3"/>
                    <a:pt x="1" y="5"/>
                  </a:cubicBezTo>
                  <a:cubicBezTo>
                    <a:pt x="1" y="4"/>
                    <a:pt x="0" y="2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295">
              <a:extLst>
                <a:ext uri="{FF2B5EF4-FFF2-40B4-BE49-F238E27FC236}">
                  <a16:creationId xmlns:a16="http://schemas.microsoft.com/office/drawing/2014/main" id="{A3C9B71C-0903-4D95-A758-3C7BC905FB9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82" y="1080"/>
              <a:ext cx="0" cy="0"/>
            </a:xfrm>
            <a:custGeom>
              <a:avLst/>
              <a:gdLst>
                <a:gd name="T0" fmla="*/ 3 w 3"/>
                <a:gd name="T1" fmla="*/ 4 h 4"/>
                <a:gd name="T2" fmla="*/ 3 w 3"/>
                <a:gd name="T3" fmla="*/ 4 h 4"/>
                <a:gd name="T4" fmla="*/ 0 w 3"/>
                <a:gd name="T5" fmla="*/ 0 h 4"/>
                <a:gd name="T6" fmla="*/ 3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lnTo>
                    <a:pt x="3" y="4"/>
                  </a:lnTo>
                  <a:cubicBezTo>
                    <a:pt x="3" y="3"/>
                    <a:pt x="2" y="1"/>
                    <a:pt x="0" y="0"/>
                  </a:cubicBezTo>
                  <a:cubicBezTo>
                    <a:pt x="1" y="1"/>
                    <a:pt x="2" y="3"/>
                    <a:pt x="3" y="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296">
              <a:extLst>
                <a:ext uri="{FF2B5EF4-FFF2-40B4-BE49-F238E27FC236}">
                  <a16:creationId xmlns:a16="http://schemas.microsoft.com/office/drawing/2014/main" id="{75D97AD5-8156-4612-9341-D627ABF20AC4}"/>
                </a:ext>
              </a:extLst>
            </p:cNvPr>
            <p:cNvSpPr>
              <a:spLocks/>
            </p:cNvSpPr>
            <p:nvPr/>
          </p:nvSpPr>
          <p:spPr bwMode="gray">
            <a:xfrm>
              <a:off x="2780" y="1080"/>
              <a:ext cx="6" cy="10"/>
            </a:xfrm>
            <a:custGeom>
              <a:avLst/>
              <a:gdLst>
                <a:gd name="T0" fmla="*/ 19 w 31"/>
                <a:gd name="T1" fmla="*/ 15 h 51"/>
                <a:gd name="T2" fmla="*/ 19 w 31"/>
                <a:gd name="T3" fmla="*/ 15 h 51"/>
                <a:gd name="T4" fmla="*/ 31 w 31"/>
                <a:gd name="T5" fmla="*/ 51 h 51"/>
                <a:gd name="T6" fmla="*/ 26 w 31"/>
                <a:gd name="T7" fmla="*/ 27 h 51"/>
                <a:gd name="T8" fmla="*/ 12 w 31"/>
                <a:gd name="T9" fmla="*/ 0 h 51"/>
                <a:gd name="T10" fmla="*/ 19 w 31"/>
                <a:gd name="T11" fmla="*/ 1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51">
                  <a:moveTo>
                    <a:pt x="19" y="15"/>
                  </a:moveTo>
                  <a:lnTo>
                    <a:pt x="19" y="15"/>
                  </a:lnTo>
                  <a:cubicBezTo>
                    <a:pt x="11" y="23"/>
                    <a:pt x="16" y="43"/>
                    <a:pt x="31" y="51"/>
                  </a:cubicBezTo>
                  <a:cubicBezTo>
                    <a:pt x="29" y="42"/>
                    <a:pt x="28" y="35"/>
                    <a:pt x="26" y="27"/>
                  </a:cubicBezTo>
                  <a:cubicBezTo>
                    <a:pt x="23" y="19"/>
                    <a:pt x="20" y="10"/>
                    <a:pt x="12" y="0"/>
                  </a:cubicBezTo>
                  <a:cubicBezTo>
                    <a:pt x="13" y="7"/>
                    <a:pt x="0" y="12"/>
                    <a:pt x="19" y="1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297">
              <a:extLst>
                <a:ext uri="{FF2B5EF4-FFF2-40B4-BE49-F238E27FC236}">
                  <a16:creationId xmlns:a16="http://schemas.microsoft.com/office/drawing/2014/main" id="{65F7CA06-4617-4C8F-B88B-7A02EE3147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87" y="1060"/>
              <a:ext cx="5" cy="3"/>
            </a:xfrm>
            <a:custGeom>
              <a:avLst/>
              <a:gdLst>
                <a:gd name="T0" fmla="*/ 0 w 27"/>
                <a:gd name="T1" fmla="*/ 4 h 19"/>
                <a:gd name="T2" fmla="*/ 0 w 27"/>
                <a:gd name="T3" fmla="*/ 4 h 19"/>
                <a:gd name="T4" fmla="*/ 20 w 27"/>
                <a:gd name="T5" fmla="*/ 17 h 19"/>
                <a:gd name="T6" fmla="*/ 0 w 27"/>
                <a:gd name="T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9">
                  <a:moveTo>
                    <a:pt x="0" y="4"/>
                  </a:moveTo>
                  <a:lnTo>
                    <a:pt x="0" y="4"/>
                  </a:lnTo>
                  <a:cubicBezTo>
                    <a:pt x="11" y="10"/>
                    <a:pt x="4" y="19"/>
                    <a:pt x="20" y="17"/>
                  </a:cubicBezTo>
                  <a:cubicBezTo>
                    <a:pt x="27" y="13"/>
                    <a:pt x="10" y="0"/>
                    <a:pt x="0" y="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298">
              <a:extLst>
                <a:ext uri="{FF2B5EF4-FFF2-40B4-BE49-F238E27FC236}">
                  <a16:creationId xmlns:a16="http://schemas.microsoft.com/office/drawing/2014/main" id="{9584DD95-DE2B-4273-8612-DDB0E903176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4" y="909"/>
              <a:ext cx="11" cy="1"/>
            </a:xfrm>
            <a:custGeom>
              <a:avLst/>
              <a:gdLst>
                <a:gd name="T0" fmla="*/ 47 w 61"/>
                <a:gd name="T1" fmla="*/ 2 h 5"/>
                <a:gd name="T2" fmla="*/ 47 w 61"/>
                <a:gd name="T3" fmla="*/ 2 h 5"/>
                <a:gd name="T4" fmla="*/ 0 w 61"/>
                <a:gd name="T5" fmla="*/ 4 h 5"/>
                <a:gd name="T6" fmla="*/ 47 w 61"/>
                <a:gd name="T7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1" h="5">
                  <a:moveTo>
                    <a:pt x="47" y="2"/>
                  </a:moveTo>
                  <a:lnTo>
                    <a:pt x="47" y="2"/>
                  </a:lnTo>
                  <a:cubicBezTo>
                    <a:pt x="61" y="0"/>
                    <a:pt x="47" y="1"/>
                    <a:pt x="0" y="4"/>
                  </a:cubicBezTo>
                  <a:cubicBezTo>
                    <a:pt x="4" y="5"/>
                    <a:pt x="31" y="2"/>
                    <a:pt x="47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299">
              <a:extLst>
                <a:ext uri="{FF2B5EF4-FFF2-40B4-BE49-F238E27FC236}">
                  <a16:creationId xmlns:a16="http://schemas.microsoft.com/office/drawing/2014/main" id="{BDB815DE-34D1-4FAD-9B7D-9FAF34321A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2" y="909"/>
              <a:ext cx="11" cy="0"/>
            </a:xfrm>
            <a:custGeom>
              <a:avLst/>
              <a:gdLst>
                <a:gd name="T0" fmla="*/ 0 w 61"/>
                <a:gd name="T1" fmla="*/ 3 h 3"/>
                <a:gd name="T2" fmla="*/ 0 w 61"/>
                <a:gd name="T3" fmla="*/ 3 h 3"/>
                <a:gd name="T4" fmla="*/ 24 w 61"/>
                <a:gd name="T5" fmla="*/ 2 h 3"/>
                <a:gd name="T6" fmla="*/ 61 w 61"/>
                <a:gd name="T7" fmla="*/ 0 h 3"/>
                <a:gd name="T8" fmla="*/ 0 w 61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3">
                  <a:moveTo>
                    <a:pt x="0" y="3"/>
                  </a:moveTo>
                  <a:lnTo>
                    <a:pt x="0" y="3"/>
                  </a:lnTo>
                  <a:lnTo>
                    <a:pt x="24" y="2"/>
                  </a:lnTo>
                  <a:lnTo>
                    <a:pt x="61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300">
              <a:extLst>
                <a:ext uri="{FF2B5EF4-FFF2-40B4-BE49-F238E27FC236}">
                  <a16:creationId xmlns:a16="http://schemas.microsoft.com/office/drawing/2014/main" id="{5DD77993-3A1C-4C1C-B760-95EBBA9469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72" y="908"/>
              <a:ext cx="5" cy="0"/>
            </a:xfrm>
            <a:custGeom>
              <a:avLst/>
              <a:gdLst>
                <a:gd name="T0" fmla="*/ 0 w 27"/>
                <a:gd name="T1" fmla="*/ 0 w 27"/>
                <a:gd name="T2" fmla="*/ 27 w 27"/>
                <a:gd name="T3" fmla="*/ 0 w 2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7">
                  <a:moveTo>
                    <a:pt x="0" y="0"/>
                  </a:moveTo>
                  <a:lnTo>
                    <a:pt x="0" y="0"/>
                  </a:lnTo>
                  <a:cubicBezTo>
                    <a:pt x="4" y="0"/>
                    <a:pt x="15" y="0"/>
                    <a:pt x="27" y="0"/>
                  </a:cubicBezTo>
                  <a:cubicBezTo>
                    <a:pt x="11" y="0"/>
                    <a:pt x="13" y="0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301">
              <a:extLst>
                <a:ext uri="{FF2B5EF4-FFF2-40B4-BE49-F238E27FC236}">
                  <a16:creationId xmlns:a16="http://schemas.microsoft.com/office/drawing/2014/main" id="{D354E785-0774-4074-BC45-F6105CA0A33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77" y="908"/>
              <a:ext cx="1" cy="0"/>
            </a:xfrm>
            <a:custGeom>
              <a:avLst/>
              <a:gdLst>
                <a:gd name="T0" fmla="*/ 4 w 4"/>
                <a:gd name="T1" fmla="*/ 4 w 4"/>
                <a:gd name="T2" fmla="*/ 0 w 4"/>
                <a:gd name="T3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4" y="0"/>
                  </a:lnTo>
                  <a:cubicBezTo>
                    <a:pt x="3" y="0"/>
                    <a:pt x="1" y="0"/>
                    <a:pt x="0" y="0"/>
                  </a:cubicBezTo>
                  <a:cubicBezTo>
                    <a:pt x="1" y="0"/>
                    <a:pt x="3" y="0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302">
              <a:extLst>
                <a:ext uri="{FF2B5EF4-FFF2-40B4-BE49-F238E27FC236}">
                  <a16:creationId xmlns:a16="http://schemas.microsoft.com/office/drawing/2014/main" id="{9CA90915-C6BC-413F-B128-F13ACBC7BC7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75" y="908"/>
              <a:ext cx="5" cy="0"/>
            </a:xfrm>
            <a:custGeom>
              <a:avLst/>
              <a:gdLst>
                <a:gd name="T0" fmla="*/ 0 w 31"/>
                <a:gd name="T1" fmla="*/ 0 w 31"/>
                <a:gd name="T2" fmla="*/ 31 w 31"/>
                <a:gd name="T3" fmla="*/ 18 w 31"/>
                <a:gd name="T4" fmla="*/ 0 w 3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31">
                  <a:moveTo>
                    <a:pt x="0" y="0"/>
                  </a:moveTo>
                  <a:lnTo>
                    <a:pt x="0" y="0"/>
                  </a:lnTo>
                  <a:lnTo>
                    <a:pt x="31" y="0"/>
                  </a:lnTo>
                  <a:cubicBezTo>
                    <a:pt x="28" y="0"/>
                    <a:pt x="23" y="0"/>
                    <a:pt x="18" y="0"/>
                  </a:cubicBezTo>
                  <a:cubicBezTo>
                    <a:pt x="20" y="0"/>
                    <a:pt x="16" y="0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303">
              <a:extLst>
                <a:ext uri="{FF2B5EF4-FFF2-40B4-BE49-F238E27FC236}">
                  <a16:creationId xmlns:a16="http://schemas.microsoft.com/office/drawing/2014/main" id="{7BD37018-E1A3-4B5F-825C-F2AAB79A729D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7" y="908"/>
              <a:ext cx="27" cy="0"/>
            </a:xfrm>
            <a:custGeom>
              <a:avLst/>
              <a:gdLst>
                <a:gd name="T0" fmla="*/ 90 w 145"/>
                <a:gd name="T1" fmla="*/ 1 h 2"/>
                <a:gd name="T2" fmla="*/ 90 w 145"/>
                <a:gd name="T3" fmla="*/ 1 h 2"/>
                <a:gd name="T4" fmla="*/ 0 w 145"/>
                <a:gd name="T5" fmla="*/ 2 h 2"/>
                <a:gd name="T6" fmla="*/ 145 w 145"/>
                <a:gd name="T7" fmla="*/ 0 h 2"/>
                <a:gd name="T8" fmla="*/ 90 w 145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2">
                  <a:moveTo>
                    <a:pt x="90" y="1"/>
                  </a:moveTo>
                  <a:lnTo>
                    <a:pt x="90" y="1"/>
                  </a:lnTo>
                  <a:lnTo>
                    <a:pt x="0" y="2"/>
                  </a:lnTo>
                  <a:cubicBezTo>
                    <a:pt x="113" y="1"/>
                    <a:pt x="30" y="2"/>
                    <a:pt x="145" y="0"/>
                  </a:cubicBezTo>
                  <a:lnTo>
                    <a:pt x="90" y="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304">
              <a:extLst>
                <a:ext uri="{FF2B5EF4-FFF2-40B4-BE49-F238E27FC236}">
                  <a16:creationId xmlns:a16="http://schemas.microsoft.com/office/drawing/2014/main" id="{4721B985-3476-4AC3-9B01-0852B7FCC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6" y="908"/>
              <a:ext cx="63" cy="0"/>
            </a:xfrm>
            <a:custGeom>
              <a:avLst/>
              <a:gdLst>
                <a:gd name="T0" fmla="*/ 331 w 342"/>
                <a:gd name="T1" fmla="*/ 2 h 2"/>
                <a:gd name="T2" fmla="*/ 331 w 342"/>
                <a:gd name="T3" fmla="*/ 2 h 2"/>
                <a:gd name="T4" fmla="*/ 310 w 342"/>
                <a:gd name="T5" fmla="*/ 2 h 2"/>
                <a:gd name="T6" fmla="*/ 268 w 342"/>
                <a:gd name="T7" fmla="*/ 2 h 2"/>
                <a:gd name="T8" fmla="*/ 319 w 342"/>
                <a:gd name="T9" fmla="*/ 2 h 2"/>
                <a:gd name="T10" fmla="*/ 188 w 342"/>
                <a:gd name="T11" fmla="*/ 1 h 2"/>
                <a:gd name="T12" fmla="*/ 80 w 342"/>
                <a:gd name="T13" fmla="*/ 0 h 2"/>
                <a:gd name="T14" fmla="*/ 237 w 342"/>
                <a:gd name="T15" fmla="*/ 2 h 2"/>
                <a:gd name="T16" fmla="*/ 233 w 342"/>
                <a:gd name="T17" fmla="*/ 2 h 2"/>
                <a:gd name="T18" fmla="*/ 331 w 342"/>
                <a:gd name="T1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2" h="2">
                  <a:moveTo>
                    <a:pt x="331" y="2"/>
                  </a:moveTo>
                  <a:lnTo>
                    <a:pt x="331" y="2"/>
                  </a:lnTo>
                  <a:cubicBezTo>
                    <a:pt x="342" y="2"/>
                    <a:pt x="328" y="2"/>
                    <a:pt x="310" y="2"/>
                  </a:cubicBezTo>
                  <a:cubicBezTo>
                    <a:pt x="295" y="2"/>
                    <a:pt x="280" y="2"/>
                    <a:pt x="268" y="2"/>
                  </a:cubicBezTo>
                  <a:cubicBezTo>
                    <a:pt x="289" y="2"/>
                    <a:pt x="306" y="2"/>
                    <a:pt x="319" y="2"/>
                  </a:cubicBezTo>
                  <a:cubicBezTo>
                    <a:pt x="186" y="1"/>
                    <a:pt x="204" y="1"/>
                    <a:pt x="188" y="1"/>
                  </a:cubicBezTo>
                  <a:cubicBezTo>
                    <a:pt x="137" y="1"/>
                    <a:pt x="88" y="1"/>
                    <a:pt x="80" y="0"/>
                  </a:cubicBezTo>
                  <a:cubicBezTo>
                    <a:pt x="0" y="1"/>
                    <a:pt x="217" y="1"/>
                    <a:pt x="237" y="2"/>
                  </a:cubicBezTo>
                  <a:cubicBezTo>
                    <a:pt x="242" y="2"/>
                    <a:pt x="242" y="2"/>
                    <a:pt x="233" y="2"/>
                  </a:cubicBezTo>
                  <a:cubicBezTo>
                    <a:pt x="293" y="2"/>
                    <a:pt x="311" y="2"/>
                    <a:pt x="33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305">
              <a:extLst>
                <a:ext uri="{FF2B5EF4-FFF2-40B4-BE49-F238E27FC236}">
                  <a16:creationId xmlns:a16="http://schemas.microsoft.com/office/drawing/2014/main" id="{ACF861D1-9D4A-4731-B004-EBCEC6754FC4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3" y="908"/>
              <a:ext cx="18" cy="0"/>
            </a:xfrm>
            <a:custGeom>
              <a:avLst/>
              <a:gdLst>
                <a:gd name="T0" fmla="*/ 35 w 97"/>
                <a:gd name="T1" fmla="*/ 35 w 97"/>
                <a:gd name="T2" fmla="*/ 50 w 97"/>
                <a:gd name="T3" fmla="*/ 14 w 97"/>
                <a:gd name="T4" fmla="*/ 35 w 9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97">
                  <a:moveTo>
                    <a:pt x="35" y="0"/>
                  </a:moveTo>
                  <a:lnTo>
                    <a:pt x="35" y="0"/>
                  </a:lnTo>
                  <a:cubicBezTo>
                    <a:pt x="97" y="0"/>
                    <a:pt x="95" y="0"/>
                    <a:pt x="50" y="0"/>
                  </a:cubicBezTo>
                  <a:cubicBezTo>
                    <a:pt x="40" y="0"/>
                    <a:pt x="27" y="0"/>
                    <a:pt x="14" y="0"/>
                  </a:cubicBezTo>
                  <a:cubicBezTo>
                    <a:pt x="2" y="0"/>
                    <a:pt x="0" y="0"/>
                    <a:pt x="3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306">
              <a:extLst>
                <a:ext uri="{FF2B5EF4-FFF2-40B4-BE49-F238E27FC236}">
                  <a16:creationId xmlns:a16="http://schemas.microsoft.com/office/drawing/2014/main" id="{338FABE3-FF69-419B-B6E6-21B8010F300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8" y="908"/>
              <a:ext cx="9" cy="0"/>
            </a:xfrm>
            <a:custGeom>
              <a:avLst/>
              <a:gdLst>
                <a:gd name="T0" fmla="*/ 0 w 49"/>
                <a:gd name="T1" fmla="*/ 0 w 49"/>
                <a:gd name="T2" fmla="*/ 49 w 49"/>
                <a:gd name="T3" fmla="*/ 12 w 49"/>
                <a:gd name="T4" fmla="*/ 0 w 4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49">
                  <a:moveTo>
                    <a:pt x="0" y="0"/>
                  </a:moveTo>
                  <a:lnTo>
                    <a:pt x="0" y="0"/>
                  </a:lnTo>
                  <a:lnTo>
                    <a:pt x="49" y="0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307">
              <a:extLst>
                <a:ext uri="{FF2B5EF4-FFF2-40B4-BE49-F238E27FC236}">
                  <a16:creationId xmlns:a16="http://schemas.microsoft.com/office/drawing/2014/main" id="{F3EF8420-ECD8-436A-B9C2-4DFFE0C49D2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4" y="908"/>
              <a:ext cx="12" cy="0"/>
            </a:xfrm>
            <a:custGeom>
              <a:avLst/>
              <a:gdLst>
                <a:gd name="T0" fmla="*/ 0 w 62"/>
                <a:gd name="T1" fmla="*/ 0 h 1"/>
                <a:gd name="T2" fmla="*/ 0 w 62"/>
                <a:gd name="T3" fmla="*/ 0 h 1"/>
                <a:gd name="T4" fmla="*/ 62 w 62"/>
                <a:gd name="T5" fmla="*/ 1 h 1"/>
                <a:gd name="T6" fmla="*/ 0 w 6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1">
                  <a:moveTo>
                    <a:pt x="0" y="0"/>
                  </a:moveTo>
                  <a:lnTo>
                    <a:pt x="0" y="0"/>
                  </a:lnTo>
                  <a:lnTo>
                    <a:pt x="62" y="1"/>
                  </a:lnTo>
                  <a:cubicBezTo>
                    <a:pt x="48" y="0"/>
                    <a:pt x="35" y="0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308">
              <a:extLst>
                <a:ext uri="{FF2B5EF4-FFF2-40B4-BE49-F238E27FC236}">
                  <a16:creationId xmlns:a16="http://schemas.microsoft.com/office/drawing/2014/main" id="{2D4160DD-5583-4B0C-A266-7D2BF8EA71E2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1" y="907"/>
              <a:ext cx="22" cy="1"/>
            </a:xfrm>
            <a:custGeom>
              <a:avLst/>
              <a:gdLst>
                <a:gd name="T0" fmla="*/ 102 w 121"/>
                <a:gd name="T1" fmla="*/ 7 h 8"/>
                <a:gd name="T2" fmla="*/ 102 w 121"/>
                <a:gd name="T3" fmla="*/ 7 h 8"/>
                <a:gd name="T4" fmla="*/ 20 w 121"/>
                <a:gd name="T5" fmla="*/ 4 h 8"/>
                <a:gd name="T6" fmla="*/ 27 w 121"/>
                <a:gd name="T7" fmla="*/ 3 h 8"/>
                <a:gd name="T8" fmla="*/ 102 w 121"/>
                <a:gd name="T9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8">
                  <a:moveTo>
                    <a:pt x="102" y="7"/>
                  </a:moveTo>
                  <a:lnTo>
                    <a:pt x="102" y="7"/>
                  </a:lnTo>
                  <a:cubicBezTo>
                    <a:pt x="121" y="8"/>
                    <a:pt x="0" y="0"/>
                    <a:pt x="20" y="4"/>
                  </a:cubicBezTo>
                  <a:lnTo>
                    <a:pt x="27" y="3"/>
                  </a:lnTo>
                  <a:cubicBezTo>
                    <a:pt x="47" y="4"/>
                    <a:pt x="93" y="6"/>
                    <a:pt x="102" y="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309">
              <a:extLst>
                <a:ext uri="{FF2B5EF4-FFF2-40B4-BE49-F238E27FC236}">
                  <a16:creationId xmlns:a16="http://schemas.microsoft.com/office/drawing/2014/main" id="{5B895ED7-838D-4017-8200-9B1A275F7D3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7" y="902"/>
              <a:ext cx="5" cy="1"/>
            </a:xfrm>
            <a:custGeom>
              <a:avLst/>
              <a:gdLst>
                <a:gd name="T0" fmla="*/ 7 w 26"/>
                <a:gd name="T1" fmla="*/ 0 h 8"/>
                <a:gd name="T2" fmla="*/ 7 w 26"/>
                <a:gd name="T3" fmla="*/ 0 h 8"/>
                <a:gd name="T4" fmla="*/ 26 w 26"/>
                <a:gd name="T5" fmla="*/ 8 h 8"/>
                <a:gd name="T6" fmla="*/ 19 w 26"/>
                <a:gd name="T7" fmla="*/ 1 h 8"/>
                <a:gd name="T8" fmla="*/ 7 w 26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8">
                  <a:moveTo>
                    <a:pt x="7" y="0"/>
                  </a:moveTo>
                  <a:lnTo>
                    <a:pt x="7" y="0"/>
                  </a:lnTo>
                  <a:cubicBezTo>
                    <a:pt x="0" y="1"/>
                    <a:pt x="7" y="5"/>
                    <a:pt x="26" y="8"/>
                  </a:cubicBezTo>
                  <a:cubicBezTo>
                    <a:pt x="26" y="8"/>
                    <a:pt x="18" y="1"/>
                    <a:pt x="19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310">
              <a:extLst>
                <a:ext uri="{FF2B5EF4-FFF2-40B4-BE49-F238E27FC236}">
                  <a16:creationId xmlns:a16="http://schemas.microsoft.com/office/drawing/2014/main" id="{1B530542-9701-4D6D-83D9-BF053F7805F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9" y="893"/>
              <a:ext cx="11" cy="3"/>
            </a:xfrm>
            <a:custGeom>
              <a:avLst/>
              <a:gdLst>
                <a:gd name="T0" fmla="*/ 58 w 58"/>
                <a:gd name="T1" fmla="*/ 4 h 15"/>
                <a:gd name="T2" fmla="*/ 58 w 58"/>
                <a:gd name="T3" fmla="*/ 4 h 15"/>
                <a:gd name="T4" fmla="*/ 19 w 58"/>
                <a:gd name="T5" fmla="*/ 6 h 15"/>
                <a:gd name="T6" fmla="*/ 0 w 58"/>
                <a:gd name="T7" fmla="*/ 15 h 15"/>
                <a:gd name="T8" fmla="*/ 58 w 58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">
                  <a:moveTo>
                    <a:pt x="58" y="4"/>
                  </a:moveTo>
                  <a:lnTo>
                    <a:pt x="58" y="4"/>
                  </a:lnTo>
                  <a:cubicBezTo>
                    <a:pt x="27" y="0"/>
                    <a:pt x="21" y="3"/>
                    <a:pt x="19" y="6"/>
                  </a:cubicBezTo>
                  <a:cubicBezTo>
                    <a:pt x="17" y="9"/>
                    <a:pt x="19" y="14"/>
                    <a:pt x="0" y="15"/>
                  </a:cubicBezTo>
                  <a:cubicBezTo>
                    <a:pt x="32" y="10"/>
                    <a:pt x="37" y="13"/>
                    <a:pt x="58" y="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311">
              <a:extLst>
                <a:ext uri="{FF2B5EF4-FFF2-40B4-BE49-F238E27FC236}">
                  <a16:creationId xmlns:a16="http://schemas.microsoft.com/office/drawing/2014/main" id="{AA733E48-0816-4C0B-8219-2F7FA34461B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72" y="904"/>
              <a:ext cx="6" cy="2"/>
            </a:xfrm>
            <a:custGeom>
              <a:avLst/>
              <a:gdLst>
                <a:gd name="T0" fmla="*/ 2 w 30"/>
                <a:gd name="T1" fmla="*/ 0 h 9"/>
                <a:gd name="T2" fmla="*/ 2 w 30"/>
                <a:gd name="T3" fmla="*/ 0 h 9"/>
                <a:gd name="T4" fmla="*/ 0 w 30"/>
                <a:gd name="T5" fmla="*/ 2 h 9"/>
                <a:gd name="T6" fmla="*/ 2 w 3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9">
                  <a:moveTo>
                    <a:pt x="2" y="0"/>
                  </a:moveTo>
                  <a:lnTo>
                    <a:pt x="2" y="0"/>
                  </a:lnTo>
                  <a:cubicBezTo>
                    <a:pt x="20" y="5"/>
                    <a:pt x="5" y="3"/>
                    <a:pt x="0" y="2"/>
                  </a:cubicBezTo>
                  <a:cubicBezTo>
                    <a:pt x="30" y="9"/>
                    <a:pt x="24" y="6"/>
                    <a:pt x="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312">
              <a:extLst>
                <a:ext uri="{FF2B5EF4-FFF2-40B4-BE49-F238E27FC236}">
                  <a16:creationId xmlns:a16="http://schemas.microsoft.com/office/drawing/2014/main" id="{AD22B413-2082-47B9-9689-EA6151DFEED3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5" y="897"/>
              <a:ext cx="17" cy="9"/>
            </a:xfrm>
            <a:custGeom>
              <a:avLst/>
              <a:gdLst>
                <a:gd name="T0" fmla="*/ 36 w 92"/>
                <a:gd name="T1" fmla="*/ 32 h 50"/>
                <a:gd name="T2" fmla="*/ 36 w 92"/>
                <a:gd name="T3" fmla="*/ 32 h 50"/>
                <a:gd name="T4" fmla="*/ 71 w 92"/>
                <a:gd name="T5" fmla="*/ 44 h 50"/>
                <a:gd name="T6" fmla="*/ 73 w 92"/>
                <a:gd name="T7" fmla="*/ 37 h 50"/>
                <a:gd name="T8" fmla="*/ 1 w 92"/>
                <a:gd name="T9" fmla="*/ 0 h 50"/>
                <a:gd name="T10" fmla="*/ 26 w 92"/>
                <a:gd name="T11" fmla="*/ 24 h 50"/>
                <a:gd name="T12" fmla="*/ 6 w 92"/>
                <a:gd name="T13" fmla="*/ 24 h 50"/>
                <a:gd name="T14" fmla="*/ 44 w 92"/>
                <a:gd name="T15" fmla="*/ 39 h 50"/>
                <a:gd name="T16" fmla="*/ 77 w 92"/>
                <a:gd name="T17" fmla="*/ 50 h 50"/>
                <a:gd name="T18" fmla="*/ 78 w 92"/>
                <a:gd name="T19" fmla="*/ 49 h 50"/>
                <a:gd name="T20" fmla="*/ 36 w 92"/>
                <a:gd name="T21" fmla="*/ 3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50">
                  <a:moveTo>
                    <a:pt x="36" y="32"/>
                  </a:moveTo>
                  <a:lnTo>
                    <a:pt x="36" y="32"/>
                  </a:lnTo>
                  <a:cubicBezTo>
                    <a:pt x="54" y="37"/>
                    <a:pt x="58" y="40"/>
                    <a:pt x="71" y="44"/>
                  </a:cubicBezTo>
                  <a:cubicBezTo>
                    <a:pt x="92" y="49"/>
                    <a:pt x="89" y="48"/>
                    <a:pt x="73" y="37"/>
                  </a:cubicBezTo>
                  <a:cubicBezTo>
                    <a:pt x="58" y="30"/>
                    <a:pt x="15" y="11"/>
                    <a:pt x="1" y="0"/>
                  </a:cubicBezTo>
                  <a:cubicBezTo>
                    <a:pt x="0" y="6"/>
                    <a:pt x="16" y="18"/>
                    <a:pt x="26" y="24"/>
                  </a:cubicBezTo>
                  <a:cubicBezTo>
                    <a:pt x="36" y="31"/>
                    <a:pt x="39" y="33"/>
                    <a:pt x="6" y="24"/>
                  </a:cubicBezTo>
                  <a:cubicBezTo>
                    <a:pt x="18" y="29"/>
                    <a:pt x="31" y="34"/>
                    <a:pt x="44" y="39"/>
                  </a:cubicBezTo>
                  <a:cubicBezTo>
                    <a:pt x="55" y="43"/>
                    <a:pt x="66" y="46"/>
                    <a:pt x="77" y="50"/>
                  </a:cubicBezTo>
                  <a:cubicBezTo>
                    <a:pt x="80" y="50"/>
                    <a:pt x="80" y="50"/>
                    <a:pt x="78" y="49"/>
                  </a:cubicBezTo>
                  <a:cubicBezTo>
                    <a:pt x="68" y="45"/>
                    <a:pt x="28" y="32"/>
                    <a:pt x="36" y="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313">
              <a:extLst>
                <a:ext uri="{FF2B5EF4-FFF2-40B4-BE49-F238E27FC236}">
                  <a16:creationId xmlns:a16="http://schemas.microsoft.com/office/drawing/2014/main" id="{16A9A51B-3BA6-419C-A757-B2CB117BAB32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5" y="893"/>
              <a:ext cx="11" cy="4"/>
            </a:xfrm>
            <a:custGeom>
              <a:avLst/>
              <a:gdLst>
                <a:gd name="T0" fmla="*/ 21 w 60"/>
                <a:gd name="T1" fmla="*/ 21 h 24"/>
                <a:gd name="T2" fmla="*/ 21 w 60"/>
                <a:gd name="T3" fmla="*/ 21 h 24"/>
                <a:gd name="T4" fmla="*/ 60 w 60"/>
                <a:gd name="T5" fmla="*/ 24 h 24"/>
                <a:gd name="T6" fmla="*/ 34 w 60"/>
                <a:gd name="T7" fmla="*/ 8 h 24"/>
                <a:gd name="T8" fmla="*/ 5 w 60"/>
                <a:gd name="T9" fmla="*/ 8 h 24"/>
                <a:gd name="T10" fmla="*/ 21 w 60"/>
                <a:gd name="T11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24">
                  <a:moveTo>
                    <a:pt x="21" y="21"/>
                  </a:moveTo>
                  <a:lnTo>
                    <a:pt x="21" y="21"/>
                  </a:lnTo>
                  <a:lnTo>
                    <a:pt x="60" y="24"/>
                  </a:lnTo>
                  <a:cubicBezTo>
                    <a:pt x="31" y="18"/>
                    <a:pt x="35" y="13"/>
                    <a:pt x="34" y="8"/>
                  </a:cubicBezTo>
                  <a:cubicBezTo>
                    <a:pt x="4" y="0"/>
                    <a:pt x="0" y="3"/>
                    <a:pt x="5" y="8"/>
                  </a:cubicBezTo>
                  <a:cubicBezTo>
                    <a:pt x="9" y="13"/>
                    <a:pt x="22" y="19"/>
                    <a:pt x="21" y="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314">
              <a:extLst>
                <a:ext uri="{FF2B5EF4-FFF2-40B4-BE49-F238E27FC236}">
                  <a16:creationId xmlns:a16="http://schemas.microsoft.com/office/drawing/2014/main" id="{24807B25-4993-4FC5-ACE6-CF8185698C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777" y="888"/>
              <a:ext cx="6" cy="7"/>
            </a:xfrm>
            <a:custGeom>
              <a:avLst/>
              <a:gdLst>
                <a:gd name="T0" fmla="*/ 3 w 34"/>
                <a:gd name="T1" fmla="*/ 35 h 37"/>
                <a:gd name="T2" fmla="*/ 3 w 34"/>
                <a:gd name="T3" fmla="*/ 35 h 37"/>
                <a:gd name="T4" fmla="*/ 18 w 34"/>
                <a:gd name="T5" fmla="*/ 19 h 37"/>
                <a:gd name="T6" fmla="*/ 34 w 34"/>
                <a:gd name="T7" fmla="*/ 0 h 37"/>
                <a:gd name="T8" fmla="*/ 20 w 34"/>
                <a:gd name="T9" fmla="*/ 8 h 37"/>
                <a:gd name="T10" fmla="*/ 11 w 34"/>
                <a:gd name="T11" fmla="*/ 22 h 37"/>
                <a:gd name="T12" fmla="*/ 4 w 34"/>
                <a:gd name="T13" fmla="*/ 32 h 37"/>
                <a:gd name="T14" fmla="*/ 3 w 34"/>
                <a:gd name="T15" fmla="*/ 34 h 37"/>
                <a:gd name="T16" fmla="*/ 3 w 34"/>
                <a:gd name="T17" fmla="*/ 35 h 37"/>
                <a:gd name="T18" fmla="*/ 3 w 34"/>
                <a:gd name="T19" fmla="*/ 3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7">
                  <a:moveTo>
                    <a:pt x="3" y="35"/>
                  </a:moveTo>
                  <a:lnTo>
                    <a:pt x="3" y="35"/>
                  </a:lnTo>
                  <a:cubicBezTo>
                    <a:pt x="0" y="37"/>
                    <a:pt x="9" y="28"/>
                    <a:pt x="18" y="19"/>
                  </a:cubicBezTo>
                  <a:cubicBezTo>
                    <a:pt x="26" y="10"/>
                    <a:pt x="34" y="0"/>
                    <a:pt x="34" y="0"/>
                  </a:cubicBezTo>
                  <a:lnTo>
                    <a:pt x="20" y="8"/>
                  </a:lnTo>
                  <a:cubicBezTo>
                    <a:pt x="20" y="8"/>
                    <a:pt x="15" y="15"/>
                    <a:pt x="11" y="22"/>
                  </a:cubicBezTo>
                  <a:cubicBezTo>
                    <a:pt x="8" y="26"/>
                    <a:pt x="6" y="30"/>
                    <a:pt x="4" y="32"/>
                  </a:cubicBezTo>
                  <a:cubicBezTo>
                    <a:pt x="3" y="33"/>
                    <a:pt x="3" y="34"/>
                    <a:pt x="3" y="34"/>
                  </a:cubicBezTo>
                  <a:cubicBezTo>
                    <a:pt x="2" y="35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315">
              <a:extLst>
                <a:ext uri="{FF2B5EF4-FFF2-40B4-BE49-F238E27FC236}">
                  <a16:creationId xmlns:a16="http://schemas.microsoft.com/office/drawing/2014/main" id="{BA4ED793-61C3-481E-823F-B60BAC4EAF9B}"/>
                </a:ext>
              </a:extLst>
            </p:cNvPr>
            <p:cNvSpPr>
              <a:spLocks/>
            </p:cNvSpPr>
            <p:nvPr/>
          </p:nvSpPr>
          <p:spPr bwMode="gray">
            <a:xfrm>
              <a:off x="2783" y="888"/>
              <a:ext cx="4" cy="7"/>
            </a:xfrm>
            <a:custGeom>
              <a:avLst/>
              <a:gdLst>
                <a:gd name="T0" fmla="*/ 0 w 25"/>
                <a:gd name="T1" fmla="*/ 32 h 41"/>
                <a:gd name="T2" fmla="*/ 0 w 25"/>
                <a:gd name="T3" fmla="*/ 32 h 41"/>
                <a:gd name="T4" fmla="*/ 9 w 25"/>
                <a:gd name="T5" fmla="*/ 41 h 41"/>
                <a:gd name="T6" fmla="*/ 17 w 25"/>
                <a:gd name="T7" fmla="*/ 21 h 41"/>
                <a:gd name="T8" fmla="*/ 25 w 25"/>
                <a:gd name="T9" fmla="*/ 0 h 41"/>
                <a:gd name="T10" fmla="*/ 0 w 25"/>
                <a:gd name="T1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41">
                  <a:moveTo>
                    <a:pt x="0" y="32"/>
                  </a:moveTo>
                  <a:lnTo>
                    <a:pt x="0" y="32"/>
                  </a:lnTo>
                  <a:lnTo>
                    <a:pt x="9" y="41"/>
                  </a:lnTo>
                  <a:cubicBezTo>
                    <a:pt x="9" y="41"/>
                    <a:pt x="13" y="31"/>
                    <a:pt x="17" y="21"/>
                  </a:cubicBezTo>
                  <a:cubicBezTo>
                    <a:pt x="21" y="11"/>
                    <a:pt x="25" y="0"/>
                    <a:pt x="25" y="0"/>
                  </a:cubicBezTo>
                  <a:lnTo>
                    <a:pt x="0" y="3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316">
              <a:extLst>
                <a:ext uri="{FF2B5EF4-FFF2-40B4-BE49-F238E27FC236}">
                  <a16:creationId xmlns:a16="http://schemas.microsoft.com/office/drawing/2014/main" id="{B382C364-AF0A-456B-8F90-0003173E6AA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88" y="890"/>
              <a:ext cx="4" cy="5"/>
            </a:xfrm>
            <a:custGeom>
              <a:avLst/>
              <a:gdLst>
                <a:gd name="T0" fmla="*/ 22 w 22"/>
                <a:gd name="T1" fmla="*/ 0 h 29"/>
                <a:gd name="T2" fmla="*/ 22 w 22"/>
                <a:gd name="T3" fmla="*/ 0 h 29"/>
                <a:gd name="T4" fmla="*/ 16 w 22"/>
                <a:gd name="T5" fmla="*/ 3 h 29"/>
                <a:gd name="T6" fmla="*/ 0 w 22"/>
                <a:gd name="T7" fmla="*/ 29 h 29"/>
                <a:gd name="T8" fmla="*/ 11 w 22"/>
                <a:gd name="T9" fmla="*/ 15 h 29"/>
                <a:gd name="T10" fmla="*/ 19 w 22"/>
                <a:gd name="T11" fmla="*/ 5 h 29"/>
                <a:gd name="T12" fmla="*/ 22 w 22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9">
                  <a:moveTo>
                    <a:pt x="22" y="0"/>
                  </a:moveTo>
                  <a:lnTo>
                    <a:pt x="22" y="0"/>
                  </a:lnTo>
                  <a:lnTo>
                    <a:pt x="16" y="3"/>
                  </a:lnTo>
                  <a:lnTo>
                    <a:pt x="0" y="29"/>
                  </a:lnTo>
                  <a:cubicBezTo>
                    <a:pt x="0" y="29"/>
                    <a:pt x="5" y="22"/>
                    <a:pt x="11" y="15"/>
                  </a:cubicBezTo>
                  <a:cubicBezTo>
                    <a:pt x="14" y="11"/>
                    <a:pt x="17" y="8"/>
                    <a:pt x="19" y="5"/>
                  </a:cubicBezTo>
                  <a:cubicBezTo>
                    <a:pt x="21" y="2"/>
                    <a:pt x="22" y="0"/>
                    <a:pt x="2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317">
              <a:extLst>
                <a:ext uri="{FF2B5EF4-FFF2-40B4-BE49-F238E27FC236}">
                  <a16:creationId xmlns:a16="http://schemas.microsoft.com/office/drawing/2014/main" id="{1A9B3694-6042-445E-BF6E-56166E4BE0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797" y="876"/>
              <a:ext cx="10" cy="6"/>
            </a:xfrm>
            <a:custGeom>
              <a:avLst/>
              <a:gdLst>
                <a:gd name="T0" fmla="*/ 57 w 57"/>
                <a:gd name="T1" fmla="*/ 5 h 31"/>
                <a:gd name="T2" fmla="*/ 57 w 57"/>
                <a:gd name="T3" fmla="*/ 5 h 31"/>
                <a:gd name="T4" fmla="*/ 38 w 57"/>
                <a:gd name="T5" fmla="*/ 0 h 31"/>
                <a:gd name="T6" fmla="*/ 18 w 57"/>
                <a:gd name="T7" fmla="*/ 31 h 31"/>
                <a:gd name="T8" fmla="*/ 57 w 57"/>
                <a:gd name="T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31">
                  <a:moveTo>
                    <a:pt x="57" y="5"/>
                  </a:moveTo>
                  <a:lnTo>
                    <a:pt x="57" y="5"/>
                  </a:lnTo>
                  <a:lnTo>
                    <a:pt x="38" y="0"/>
                  </a:lnTo>
                  <a:cubicBezTo>
                    <a:pt x="32" y="12"/>
                    <a:pt x="0" y="16"/>
                    <a:pt x="18" y="31"/>
                  </a:cubicBezTo>
                  <a:cubicBezTo>
                    <a:pt x="21" y="18"/>
                    <a:pt x="42" y="2"/>
                    <a:pt x="57" y="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318">
              <a:extLst>
                <a:ext uri="{FF2B5EF4-FFF2-40B4-BE49-F238E27FC236}">
                  <a16:creationId xmlns:a16="http://schemas.microsoft.com/office/drawing/2014/main" id="{3CFB7BCF-D5AD-4F9B-BFFF-D7D578FBEE41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5" y="791"/>
              <a:ext cx="5" cy="4"/>
            </a:xfrm>
            <a:custGeom>
              <a:avLst/>
              <a:gdLst>
                <a:gd name="T0" fmla="*/ 0 w 31"/>
                <a:gd name="T1" fmla="*/ 7 h 17"/>
                <a:gd name="T2" fmla="*/ 0 w 31"/>
                <a:gd name="T3" fmla="*/ 7 h 17"/>
                <a:gd name="T4" fmla="*/ 31 w 31"/>
                <a:gd name="T5" fmla="*/ 17 h 17"/>
                <a:gd name="T6" fmla="*/ 18 w 31"/>
                <a:gd name="T7" fmla="*/ 9 h 17"/>
                <a:gd name="T8" fmla="*/ 5 w 31"/>
                <a:gd name="T9" fmla="*/ 0 h 17"/>
                <a:gd name="T10" fmla="*/ 0 w 31"/>
                <a:gd name="T11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17">
                  <a:moveTo>
                    <a:pt x="0" y="7"/>
                  </a:moveTo>
                  <a:lnTo>
                    <a:pt x="0" y="7"/>
                  </a:lnTo>
                  <a:cubicBezTo>
                    <a:pt x="9" y="16"/>
                    <a:pt x="20" y="17"/>
                    <a:pt x="31" y="17"/>
                  </a:cubicBezTo>
                  <a:cubicBezTo>
                    <a:pt x="31" y="17"/>
                    <a:pt x="24" y="13"/>
                    <a:pt x="18" y="9"/>
                  </a:cubicBezTo>
                  <a:cubicBezTo>
                    <a:pt x="11" y="4"/>
                    <a:pt x="5" y="0"/>
                    <a:pt x="5" y="0"/>
                  </a:cubicBezTo>
                  <a:cubicBezTo>
                    <a:pt x="6" y="3"/>
                    <a:pt x="7" y="8"/>
                    <a:pt x="0" y="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319">
              <a:extLst>
                <a:ext uri="{FF2B5EF4-FFF2-40B4-BE49-F238E27FC236}">
                  <a16:creationId xmlns:a16="http://schemas.microsoft.com/office/drawing/2014/main" id="{4B1DF6F0-5367-45AD-927A-705A3611470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" y="784"/>
              <a:ext cx="7" cy="10"/>
            </a:xfrm>
            <a:custGeom>
              <a:avLst/>
              <a:gdLst>
                <a:gd name="T0" fmla="*/ 39 w 39"/>
                <a:gd name="T1" fmla="*/ 30 h 55"/>
                <a:gd name="T2" fmla="*/ 39 w 39"/>
                <a:gd name="T3" fmla="*/ 30 h 55"/>
                <a:gd name="T4" fmla="*/ 25 w 39"/>
                <a:gd name="T5" fmla="*/ 15 h 55"/>
                <a:gd name="T6" fmla="*/ 11 w 39"/>
                <a:gd name="T7" fmla="*/ 0 h 55"/>
                <a:gd name="T8" fmla="*/ 23 w 39"/>
                <a:gd name="T9" fmla="*/ 55 h 55"/>
                <a:gd name="T10" fmla="*/ 29 w 39"/>
                <a:gd name="T11" fmla="*/ 22 h 55"/>
                <a:gd name="T12" fmla="*/ 39 w 39"/>
                <a:gd name="T13" fmla="*/ 3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55">
                  <a:moveTo>
                    <a:pt x="39" y="30"/>
                  </a:moveTo>
                  <a:lnTo>
                    <a:pt x="39" y="30"/>
                  </a:lnTo>
                  <a:cubicBezTo>
                    <a:pt x="39" y="30"/>
                    <a:pt x="32" y="22"/>
                    <a:pt x="25" y="15"/>
                  </a:cubicBezTo>
                  <a:cubicBezTo>
                    <a:pt x="18" y="7"/>
                    <a:pt x="11" y="0"/>
                    <a:pt x="11" y="0"/>
                  </a:cubicBezTo>
                  <a:cubicBezTo>
                    <a:pt x="0" y="22"/>
                    <a:pt x="25" y="32"/>
                    <a:pt x="23" y="55"/>
                  </a:cubicBezTo>
                  <a:cubicBezTo>
                    <a:pt x="37" y="50"/>
                    <a:pt x="17" y="30"/>
                    <a:pt x="29" y="22"/>
                  </a:cubicBezTo>
                  <a:lnTo>
                    <a:pt x="39" y="3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320">
              <a:extLst>
                <a:ext uri="{FF2B5EF4-FFF2-40B4-BE49-F238E27FC236}">
                  <a16:creationId xmlns:a16="http://schemas.microsoft.com/office/drawing/2014/main" id="{04A3641C-23A8-4FF5-B8E5-8A0C8C81150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" y="693"/>
              <a:ext cx="14" cy="10"/>
            </a:xfrm>
            <a:custGeom>
              <a:avLst/>
              <a:gdLst>
                <a:gd name="T0" fmla="*/ 42 w 78"/>
                <a:gd name="T1" fmla="*/ 55 h 56"/>
                <a:gd name="T2" fmla="*/ 42 w 78"/>
                <a:gd name="T3" fmla="*/ 55 h 56"/>
                <a:gd name="T4" fmla="*/ 78 w 78"/>
                <a:gd name="T5" fmla="*/ 56 h 56"/>
                <a:gd name="T6" fmla="*/ 39 w 78"/>
                <a:gd name="T7" fmla="*/ 0 h 56"/>
                <a:gd name="T8" fmla="*/ 9 w 78"/>
                <a:gd name="T9" fmla="*/ 12 h 56"/>
                <a:gd name="T10" fmla="*/ 21 w 78"/>
                <a:gd name="T11" fmla="*/ 20 h 56"/>
                <a:gd name="T12" fmla="*/ 32 w 78"/>
                <a:gd name="T13" fmla="*/ 28 h 56"/>
                <a:gd name="T14" fmla="*/ 17 w 78"/>
                <a:gd name="T15" fmla="*/ 31 h 56"/>
                <a:gd name="T16" fmla="*/ 42 w 78"/>
                <a:gd name="T17" fmla="*/ 5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56">
                  <a:moveTo>
                    <a:pt x="42" y="55"/>
                  </a:moveTo>
                  <a:lnTo>
                    <a:pt x="42" y="55"/>
                  </a:lnTo>
                  <a:cubicBezTo>
                    <a:pt x="63" y="49"/>
                    <a:pt x="58" y="45"/>
                    <a:pt x="78" y="56"/>
                  </a:cubicBezTo>
                  <a:cubicBezTo>
                    <a:pt x="57" y="39"/>
                    <a:pt x="54" y="20"/>
                    <a:pt x="39" y="0"/>
                  </a:cubicBezTo>
                  <a:cubicBezTo>
                    <a:pt x="29" y="10"/>
                    <a:pt x="0" y="8"/>
                    <a:pt x="9" y="12"/>
                  </a:cubicBezTo>
                  <a:cubicBezTo>
                    <a:pt x="9" y="12"/>
                    <a:pt x="15" y="16"/>
                    <a:pt x="21" y="20"/>
                  </a:cubicBezTo>
                  <a:cubicBezTo>
                    <a:pt x="27" y="24"/>
                    <a:pt x="32" y="28"/>
                    <a:pt x="32" y="28"/>
                  </a:cubicBezTo>
                  <a:lnTo>
                    <a:pt x="17" y="31"/>
                  </a:lnTo>
                  <a:cubicBezTo>
                    <a:pt x="9" y="54"/>
                    <a:pt x="45" y="31"/>
                    <a:pt x="42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321">
              <a:extLst>
                <a:ext uri="{FF2B5EF4-FFF2-40B4-BE49-F238E27FC236}">
                  <a16:creationId xmlns:a16="http://schemas.microsoft.com/office/drawing/2014/main" id="{743D3032-F28F-4154-9825-7AEF82B7E700}"/>
                </a:ext>
              </a:extLst>
            </p:cNvPr>
            <p:cNvSpPr>
              <a:spLocks/>
            </p:cNvSpPr>
            <p:nvPr/>
          </p:nvSpPr>
          <p:spPr bwMode="gray">
            <a:xfrm>
              <a:off x="2536" y="651"/>
              <a:ext cx="7" cy="4"/>
            </a:xfrm>
            <a:custGeom>
              <a:avLst/>
              <a:gdLst>
                <a:gd name="T0" fmla="*/ 34 w 38"/>
                <a:gd name="T1" fmla="*/ 26 h 26"/>
                <a:gd name="T2" fmla="*/ 34 w 38"/>
                <a:gd name="T3" fmla="*/ 26 h 26"/>
                <a:gd name="T4" fmla="*/ 18 w 38"/>
                <a:gd name="T5" fmla="*/ 0 h 26"/>
                <a:gd name="T6" fmla="*/ 34 w 38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26">
                  <a:moveTo>
                    <a:pt x="34" y="26"/>
                  </a:moveTo>
                  <a:lnTo>
                    <a:pt x="34" y="26"/>
                  </a:lnTo>
                  <a:cubicBezTo>
                    <a:pt x="34" y="15"/>
                    <a:pt x="26" y="8"/>
                    <a:pt x="18" y="0"/>
                  </a:cubicBezTo>
                  <a:cubicBezTo>
                    <a:pt x="0" y="20"/>
                    <a:pt x="38" y="22"/>
                    <a:pt x="34" y="2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3" name="Group 17">
            <a:extLst>
              <a:ext uri="{FF2B5EF4-FFF2-40B4-BE49-F238E27FC236}">
                <a16:creationId xmlns:a16="http://schemas.microsoft.com/office/drawing/2014/main" id="{6E9CF85B-556A-4460-8CD2-37388A201898}"/>
              </a:ext>
            </a:extLst>
          </p:cNvPr>
          <p:cNvGrpSpPr/>
          <p:nvPr/>
        </p:nvGrpSpPr>
        <p:grpSpPr bwMode="gray">
          <a:xfrm>
            <a:off x="10015488" y="1908616"/>
            <a:ext cx="2022539" cy="1237435"/>
            <a:chOff x="8042748" y="1084334"/>
            <a:chExt cx="2980195" cy="1237435"/>
          </a:xfrm>
        </p:grpSpPr>
        <p:sp>
          <p:nvSpPr>
            <p:cNvPr id="274" name="TextBox 87">
              <a:extLst>
                <a:ext uri="{FF2B5EF4-FFF2-40B4-BE49-F238E27FC236}">
                  <a16:creationId xmlns:a16="http://schemas.microsoft.com/office/drawing/2014/main" id="{64B458F5-234A-4032-B64D-D8E59A888287}"/>
                </a:ext>
              </a:extLst>
            </p:cNvPr>
            <p:cNvSpPr txBox="1"/>
            <p:nvPr/>
          </p:nvSpPr>
          <p:spPr bwMode="gray">
            <a:xfrm>
              <a:off x="8042748" y="1084334"/>
              <a:ext cx="2822078" cy="923330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r>
                <a:rPr lang="cs-CZ" sz="1800" b="1" noProof="1"/>
                <a:t>Různé typy hlav kotevního šroubu</a:t>
              </a:r>
              <a:endParaRPr lang="en-US" sz="1800" b="1" noProof="1"/>
            </a:p>
          </p:txBody>
        </p:sp>
        <p:sp>
          <p:nvSpPr>
            <p:cNvPr id="275" name="TextBox 88">
              <a:extLst>
                <a:ext uri="{FF2B5EF4-FFF2-40B4-BE49-F238E27FC236}">
                  <a16:creationId xmlns:a16="http://schemas.microsoft.com/office/drawing/2014/main" id="{254CFBEE-6C38-4352-B696-300E66A7A7FF}"/>
                </a:ext>
              </a:extLst>
            </p:cNvPr>
            <p:cNvSpPr txBox="1"/>
            <p:nvPr/>
          </p:nvSpPr>
          <p:spPr bwMode="gray">
            <a:xfrm>
              <a:off x="8042749" y="2044770"/>
              <a:ext cx="2980194" cy="276999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endParaRPr lang="en-US" sz="1200" noProof="1"/>
            </a:p>
          </p:txBody>
        </p:sp>
      </p:grpSp>
      <p:sp>
        <p:nvSpPr>
          <p:cNvPr id="276" name="Slide Number Placeholder 3">
            <a:extLst>
              <a:ext uri="{FF2B5EF4-FFF2-40B4-BE49-F238E27FC236}">
                <a16:creationId xmlns:a16="http://schemas.microsoft.com/office/drawing/2014/main" id="{55B8BE3B-472B-406D-B792-D3BC918AE2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424592" y="6470315"/>
            <a:ext cx="504056" cy="186884"/>
          </a:xfrm>
        </p:spPr>
        <p:txBody>
          <a:bodyPr/>
          <a:lstStyle/>
          <a:p>
            <a:fld id="{2B4178FD-43BF-4968-A299-3450DC0CDF97}" type="slidenum">
              <a:rPr lang="en-US" noProof="0" smtClean="0"/>
              <a:t>7</a:t>
            </a:fld>
            <a:endParaRPr lang="en-US" noProof="0"/>
          </a:p>
        </p:txBody>
      </p:sp>
      <p:grpSp>
        <p:nvGrpSpPr>
          <p:cNvPr id="286" name="Group 17">
            <a:extLst>
              <a:ext uri="{FF2B5EF4-FFF2-40B4-BE49-F238E27FC236}">
                <a16:creationId xmlns:a16="http://schemas.microsoft.com/office/drawing/2014/main" id="{D887577A-2B7C-4EF5-A8EE-A115EF3E1374}"/>
              </a:ext>
            </a:extLst>
          </p:cNvPr>
          <p:cNvGrpSpPr/>
          <p:nvPr/>
        </p:nvGrpSpPr>
        <p:grpSpPr bwMode="gray">
          <a:xfrm>
            <a:off x="528434" y="1627655"/>
            <a:ext cx="3474271" cy="646331"/>
            <a:chOff x="8042748" y="1084334"/>
            <a:chExt cx="3474271" cy="646331"/>
          </a:xfrm>
        </p:grpSpPr>
        <p:sp>
          <p:nvSpPr>
            <p:cNvPr id="287" name="TextBox 87">
              <a:extLst>
                <a:ext uri="{FF2B5EF4-FFF2-40B4-BE49-F238E27FC236}">
                  <a16:creationId xmlns:a16="http://schemas.microsoft.com/office/drawing/2014/main" id="{E265609E-DE8B-4383-90B3-200370076D9E}"/>
                </a:ext>
              </a:extLst>
            </p:cNvPr>
            <p:cNvSpPr txBox="1"/>
            <p:nvPr/>
          </p:nvSpPr>
          <p:spPr bwMode="gray">
            <a:xfrm>
              <a:off x="8042748" y="1084334"/>
              <a:ext cx="3047173" cy="646331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r>
                <a:rPr lang="en-US" sz="1800" b="1" noProof="1"/>
                <a:t>HUS4 </a:t>
              </a:r>
              <a:r>
                <a:rPr lang="cs-CZ" sz="1800" b="1" noProof="1"/>
                <a:t>– kotevní šroub do betonu – mechanická kotva</a:t>
              </a:r>
              <a:endParaRPr lang="en-US" sz="1800" b="1" noProof="1"/>
            </a:p>
          </p:txBody>
        </p:sp>
        <p:sp>
          <p:nvSpPr>
            <p:cNvPr id="288" name="TextBox 88">
              <a:extLst>
                <a:ext uri="{FF2B5EF4-FFF2-40B4-BE49-F238E27FC236}">
                  <a16:creationId xmlns:a16="http://schemas.microsoft.com/office/drawing/2014/main" id="{1F265F18-3ACD-43E5-8731-8A9DD788C973}"/>
                </a:ext>
              </a:extLst>
            </p:cNvPr>
            <p:cNvSpPr txBox="1"/>
            <p:nvPr/>
          </p:nvSpPr>
          <p:spPr bwMode="gray">
            <a:xfrm>
              <a:off x="8042749" y="1407420"/>
              <a:ext cx="3474270" cy="276999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endParaRPr lang="en-US" sz="1200" noProof="1"/>
            </a:p>
          </p:txBody>
        </p:sp>
      </p:grpSp>
      <p:pic>
        <p:nvPicPr>
          <p:cNvPr id="289" name="Picture 288">
            <a:extLst>
              <a:ext uri="{FF2B5EF4-FFF2-40B4-BE49-F238E27FC236}">
                <a16:creationId xmlns:a16="http://schemas.microsoft.com/office/drawing/2014/main" id="{F680F0BE-5C7A-4C80-B77D-5445297AB4B4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52596" t="-29366" r="438"/>
          <a:stretch/>
        </p:blipFill>
        <p:spPr>
          <a:xfrm rot="16200000">
            <a:off x="9148096" y="3936072"/>
            <a:ext cx="1949600" cy="419752"/>
          </a:xfrm>
          <a:prstGeom prst="rect">
            <a:avLst/>
          </a:prstGeom>
        </p:spPr>
      </p:pic>
      <p:pic>
        <p:nvPicPr>
          <p:cNvPr id="290" name="Picture 289">
            <a:extLst>
              <a:ext uri="{FF2B5EF4-FFF2-40B4-BE49-F238E27FC236}">
                <a16:creationId xmlns:a16="http://schemas.microsoft.com/office/drawing/2014/main" id="{C5EB2000-2E5B-4129-8719-8C6D02831446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74139" b="-2568"/>
          <a:stretch/>
        </p:blipFill>
        <p:spPr>
          <a:xfrm rot="16200000">
            <a:off x="10830964" y="3304036"/>
            <a:ext cx="693449" cy="591902"/>
          </a:xfrm>
          <a:prstGeom prst="rect">
            <a:avLst/>
          </a:prstGeom>
        </p:spPr>
      </p:pic>
      <p:pic>
        <p:nvPicPr>
          <p:cNvPr id="291" name="Picture 290">
            <a:extLst>
              <a:ext uri="{FF2B5EF4-FFF2-40B4-BE49-F238E27FC236}">
                <a16:creationId xmlns:a16="http://schemas.microsoft.com/office/drawing/2014/main" id="{45DB33EB-BD16-45EB-93AC-AFB03DCE4845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906" r="17642" b="1552"/>
          <a:stretch/>
        </p:blipFill>
        <p:spPr>
          <a:xfrm rot="16200000">
            <a:off x="10696871" y="4354480"/>
            <a:ext cx="940631" cy="591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755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1667E1F-296D-4913-83D2-9056F2B8DB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1667E1F-296D-4913-83D2-9056F2B8D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FS HYBRID - Foil+Foil">
            <a:hlinkClick r:id="" action="ppaction://media"/>
            <a:extLst>
              <a:ext uri="{FF2B5EF4-FFF2-40B4-BE49-F238E27FC236}">
                <a16:creationId xmlns:a16="http://schemas.microsoft.com/office/drawing/2014/main" id="{6009CE2B-29EC-4AAF-A859-F8B39CF55AE5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4">
                  <p14:trim st="12340" end="6108"/>
                </p14:media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815273" y="2035109"/>
            <a:ext cx="5688011" cy="319950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D51EE9A3-784B-49DA-9F57-E9761D2765BD}"/>
              </a:ext>
            </a:extLst>
          </p:cNvPr>
          <p:cNvSpPr/>
          <p:nvPr/>
        </p:nvSpPr>
        <p:spPr>
          <a:xfrm>
            <a:off x="698775" y="5339609"/>
            <a:ext cx="5939153" cy="70055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</a:rPr>
              <a:t>Demonstrativní ukázka rozmixování chemické hmoty a její aktivace.</a:t>
            </a:r>
          </a:p>
          <a:p>
            <a:pPr algn="ctr"/>
            <a:r>
              <a:rPr lang="cs-CZ" sz="1400" dirty="0">
                <a:solidFill>
                  <a:schemeClr val="tx1"/>
                </a:solidFill>
              </a:rPr>
              <a:t>V momentě, kdy se hmota zbarví do modra, je hmota rozmixována. Ve skutečnosti není hmota modrá, slouží pro ilustraci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2BB3C95-14B2-4E00-9808-4E775D716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000"/>
            <a:ext cx="9881906" cy="792538"/>
          </a:xfrm>
        </p:spPr>
        <p:txBody>
          <a:bodyPr vert="horz"/>
          <a:lstStyle/>
          <a:p>
            <a:r>
              <a:rPr lang="cs-CZ" sz="2400" u="sng" dirty="0">
                <a:solidFill>
                  <a:schemeClr val="tx1"/>
                </a:solidFill>
              </a:rPr>
              <a:t>Jak probíhá aktivace lepidla s šroubem do betonu:</a:t>
            </a:r>
            <a:endParaRPr lang="en-US" sz="2400" u="sng" dirty="0">
              <a:solidFill>
                <a:schemeClr val="tx1"/>
              </a:solidFill>
            </a:endParaRPr>
          </a:p>
        </p:txBody>
      </p:sp>
      <p:sp>
        <p:nvSpPr>
          <p:cNvPr id="14" name="Inhaltsplatzhalter 8">
            <a:extLst>
              <a:ext uri="{FF2B5EF4-FFF2-40B4-BE49-F238E27FC236}">
                <a16:creationId xmlns:a16="http://schemas.microsoft.com/office/drawing/2014/main" id="{04095049-31C3-4E2F-BDAF-4340ADAE7A27}"/>
              </a:ext>
            </a:extLst>
          </p:cNvPr>
          <p:cNvSpPr txBox="1">
            <a:spLocks/>
          </p:cNvSpPr>
          <p:nvPr/>
        </p:nvSpPr>
        <p:spPr bwMode="gray">
          <a:xfrm>
            <a:off x="9347642" y="2236014"/>
            <a:ext cx="1834551" cy="1107891"/>
          </a:xfrm>
          <a:prstGeom prst="rect">
            <a:avLst/>
          </a:prstGeom>
        </p:spPr>
        <p:txBody>
          <a:bodyPr/>
          <a:lstStyle>
            <a:lvl1pPr marL="241200" indent="-241200" algn="l" defTabSz="121917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00" indent="-239994" algn="l" defTabSz="1219170" rtl="0" eaLnBrk="1" latinLnBrk="0" hangingPunct="1">
              <a:lnSpc>
                <a:spcPct val="107000"/>
              </a:lnSpc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1200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57600" indent="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9994" lvl="1" indent="0">
              <a:buFont typeface="Arial" panose="020B0604020202020204" pitchFamily="34" charset="0"/>
              <a:buNone/>
            </a:pPr>
            <a:r>
              <a:rPr lang="cs-CZ" sz="1600" b="1" dirty="0"/>
              <a:t>Kotevní šroub HUS4 bez chemické hmoty</a:t>
            </a:r>
            <a:endParaRPr lang="en-US" sz="1600" b="1" dirty="0"/>
          </a:p>
          <a:p>
            <a:pPr marL="239994" lvl="1" indent="0">
              <a:buFont typeface="Arial" panose="020B0604020202020204" pitchFamily="34" charset="0"/>
              <a:buNone/>
            </a:pPr>
            <a:endParaRPr lang="en-US" sz="1600" b="1" dirty="0"/>
          </a:p>
        </p:txBody>
      </p:sp>
      <p:pic>
        <p:nvPicPr>
          <p:cNvPr id="15" name="Grafik 20">
            <a:extLst>
              <a:ext uri="{FF2B5EF4-FFF2-40B4-BE49-F238E27FC236}">
                <a16:creationId xmlns:a16="http://schemas.microsoft.com/office/drawing/2014/main" id="{FC247C7E-943B-4150-A42B-30C09597BBA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03284" y="1592263"/>
            <a:ext cx="2925194" cy="2547750"/>
          </a:xfrm>
          <a:prstGeom prst="rect">
            <a:avLst/>
          </a:prstGeom>
        </p:spPr>
      </p:pic>
      <p:pic>
        <p:nvPicPr>
          <p:cNvPr id="16" name="Grafik 11">
            <a:extLst>
              <a:ext uri="{FF2B5EF4-FFF2-40B4-BE49-F238E27FC236}">
                <a16:creationId xmlns:a16="http://schemas.microsoft.com/office/drawing/2014/main" id="{2634F7E0-2FEC-449E-B98B-E4BED750D3A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62694" y="4068040"/>
            <a:ext cx="2838663" cy="2333149"/>
          </a:xfrm>
          <a:prstGeom prst="rect">
            <a:avLst/>
          </a:prstGeom>
        </p:spPr>
      </p:pic>
      <p:sp>
        <p:nvSpPr>
          <p:cNvPr id="17" name="Inhaltsplatzhalter 8">
            <a:extLst>
              <a:ext uri="{FF2B5EF4-FFF2-40B4-BE49-F238E27FC236}">
                <a16:creationId xmlns:a16="http://schemas.microsoft.com/office/drawing/2014/main" id="{7DB18F3B-EB22-4899-B042-69295FDD23AE}"/>
              </a:ext>
            </a:extLst>
          </p:cNvPr>
          <p:cNvSpPr txBox="1">
            <a:spLocks/>
          </p:cNvSpPr>
          <p:nvPr/>
        </p:nvSpPr>
        <p:spPr bwMode="gray">
          <a:xfrm>
            <a:off x="6737727" y="4419078"/>
            <a:ext cx="1559811" cy="14063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9994" indent="-239994" algn="l" defTabSz="121917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9988" indent="-239994" algn="l" defTabSz="121917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982" indent="-239994" algn="l" defTabSz="1219170" rtl="0" eaLnBrk="1" latinLnBrk="0" hangingPunct="1">
              <a:spcBef>
                <a:spcPts val="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59976" indent="-239994" algn="l" defTabSz="1219170" rtl="0" eaLnBrk="1" latinLnBrk="0" hangingPunct="1">
              <a:spcBef>
                <a:spcPts val="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70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9994" lvl="1" indent="0" algn="r">
              <a:buNone/>
            </a:pPr>
            <a:r>
              <a:rPr lang="cs-CZ" sz="1600" b="1" dirty="0"/>
              <a:t>HUS4-MAX s vyplněnou chemickou hmotou</a:t>
            </a:r>
            <a:endParaRPr lang="en-US" sz="1600" dirty="0"/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9372DD8E-78A8-4143-9C18-426EEF94FF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304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9352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9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0" fill="hold">
                      <p:stCondLst>
                        <p:cond delay="0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3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  <p:video fullScrn="1">
              <p:cMediaNode vol="80000" mute="1">
                <p:cTn id="24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</p:childTnLst>
        </p:cTn>
      </p:par>
    </p:tnLst>
    <p:bldLst>
      <p:bldP spid="14" grpId="0" build="p"/>
      <p:bldP spid="1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205E3D-ACF2-40FD-A5D0-9F4E24436E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205E3D-ACF2-40FD-A5D0-9F4E24436E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4CC5B1-064A-4498-8BBE-3DB8B212260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00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30F415B-A023-4904-99F5-48B17B831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377741"/>
            <a:ext cx="12237335" cy="498244"/>
          </a:xfrm>
        </p:spPr>
        <p:txBody>
          <a:bodyPr vert="horz"/>
          <a:lstStyle/>
          <a:p>
            <a:r>
              <a:rPr lang="cs-CZ" sz="2400" u="sng" dirty="0">
                <a:solidFill>
                  <a:schemeClr val="tx1"/>
                </a:solidFill>
              </a:rPr>
              <a:t>POUŽITÍM CHEMICKÉ PATRONY DOCHÁZÍ K VÝRAZNÉMU NÁRUSTU</a:t>
            </a:r>
            <a:br>
              <a:rPr lang="cs-CZ" sz="2400" u="sng" dirty="0">
                <a:solidFill>
                  <a:schemeClr val="tx1"/>
                </a:solidFill>
              </a:rPr>
            </a:br>
            <a:r>
              <a:rPr lang="cs-CZ" sz="2400" u="sng" dirty="0">
                <a:solidFill>
                  <a:schemeClr val="tx1"/>
                </a:solidFill>
              </a:rPr>
              <a:t>únosnosti OPROTI STANDARDNÍMU ŠROUBU:</a:t>
            </a:r>
            <a:endParaRPr lang="en-US" sz="2400" u="sng" dirty="0">
              <a:solidFill>
                <a:schemeClr val="tx1"/>
              </a:solidFill>
            </a:endParaRPr>
          </a:p>
        </p:txBody>
      </p:sp>
      <p:pic>
        <p:nvPicPr>
          <p:cNvPr id="78" name="Picture 2" descr="Bild">
            <a:extLst>
              <a:ext uri="{FF2B5EF4-FFF2-40B4-BE49-F238E27FC236}">
                <a16:creationId xmlns:a16="http://schemas.microsoft.com/office/drawing/2014/main" id="{42355770-CBB9-480B-92E9-93B3907799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02" t="21413" r="19534" b="24418"/>
          <a:stretch/>
        </p:blipFill>
        <p:spPr bwMode="auto">
          <a:xfrm rot="10800000">
            <a:off x="455532" y="1721548"/>
            <a:ext cx="2744678" cy="1448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3" descr="Bild">
            <a:extLst>
              <a:ext uri="{FF2B5EF4-FFF2-40B4-BE49-F238E27FC236}">
                <a16:creationId xmlns:a16="http://schemas.microsoft.com/office/drawing/2014/main" id="{51495795-9D32-4950-BA72-7CF8995D83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72" r="22294" b="20777"/>
          <a:stretch/>
        </p:blipFill>
        <p:spPr bwMode="auto">
          <a:xfrm rot="10800000">
            <a:off x="462450" y="4349495"/>
            <a:ext cx="2744678" cy="15386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" name="TextBox 52">
            <a:extLst>
              <a:ext uri="{FF2B5EF4-FFF2-40B4-BE49-F238E27FC236}">
                <a16:creationId xmlns:a16="http://schemas.microsoft.com/office/drawing/2014/main" id="{A4A650C2-C5CC-42C1-BD32-8D9F6DF6D48B}"/>
              </a:ext>
            </a:extLst>
          </p:cNvPr>
          <p:cNvSpPr txBox="1"/>
          <p:nvPr/>
        </p:nvSpPr>
        <p:spPr>
          <a:xfrm>
            <a:off x="468181" y="1687126"/>
            <a:ext cx="2732029" cy="30777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dirty="0"/>
              <a:t>Samotný kotevní šroub </a:t>
            </a:r>
            <a:r>
              <a:rPr lang="en-US" sz="1400" dirty="0"/>
              <a:t>HUS4</a:t>
            </a:r>
          </a:p>
        </p:txBody>
      </p:sp>
      <p:sp>
        <p:nvSpPr>
          <p:cNvPr id="82" name="TextBox 53">
            <a:extLst>
              <a:ext uri="{FF2B5EF4-FFF2-40B4-BE49-F238E27FC236}">
                <a16:creationId xmlns:a16="http://schemas.microsoft.com/office/drawing/2014/main" id="{395340B4-9C85-4A9C-9927-36C3A7A05B8B}"/>
              </a:ext>
            </a:extLst>
          </p:cNvPr>
          <p:cNvSpPr txBox="1"/>
          <p:nvPr/>
        </p:nvSpPr>
        <p:spPr>
          <a:xfrm>
            <a:off x="468182" y="4346149"/>
            <a:ext cx="2755920" cy="30777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dirty="0"/>
              <a:t>Zalepený </a:t>
            </a:r>
            <a:r>
              <a:rPr lang="en-US" sz="1400" dirty="0"/>
              <a:t>HUS4</a:t>
            </a:r>
            <a:r>
              <a:rPr lang="cs-CZ" sz="1400" dirty="0"/>
              <a:t>-MAX</a:t>
            </a:r>
            <a:endParaRPr lang="en-US" sz="1400" dirty="0"/>
          </a:p>
        </p:txBody>
      </p:sp>
      <p:sp>
        <p:nvSpPr>
          <p:cNvPr id="87" name="TextBox 29">
            <a:extLst>
              <a:ext uri="{FF2B5EF4-FFF2-40B4-BE49-F238E27FC236}">
                <a16:creationId xmlns:a16="http://schemas.microsoft.com/office/drawing/2014/main" id="{77F528E4-0339-448B-A661-DC5198F11F9A}"/>
              </a:ext>
            </a:extLst>
          </p:cNvPr>
          <p:cNvSpPr txBox="1"/>
          <p:nvPr/>
        </p:nvSpPr>
        <p:spPr>
          <a:xfrm>
            <a:off x="436018" y="1393395"/>
            <a:ext cx="1394934" cy="307777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cs-CZ" sz="1400" b="1" dirty="0">
                <a:cs typeface="Poppins" pitchFamily="2" charset="77"/>
              </a:rPr>
              <a:t>Závit v betonu</a:t>
            </a:r>
            <a:endParaRPr lang="en-US" sz="1400" b="1" dirty="0">
              <a:cs typeface="Poppins" pitchFamily="2" charset="77"/>
            </a:endParaRPr>
          </a:p>
        </p:txBody>
      </p:sp>
      <p:sp>
        <p:nvSpPr>
          <p:cNvPr id="88" name="TextBox 29">
            <a:extLst>
              <a:ext uri="{FF2B5EF4-FFF2-40B4-BE49-F238E27FC236}">
                <a16:creationId xmlns:a16="http://schemas.microsoft.com/office/drawing/2014/main" id="{29397D38-5558-40F3-9113-BB06B6B7C47D}"/>
              </a:ext>
            </a:extLst>
          </p:cNvPr>
          <p:cNvSpPr txBox="1"/>
          <p:nvPr/>
        </p:nvSpPr>
        <p:spPr>
          <a:xfrm>
            <a:off x="433939" y="3605542"/>
            <a:ext cx="2270173" cy="73866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cs-CZ" sz="1400" b="1" dirty="0">
                <a:cs typeface="Poppins" pitchFamily="2" charset="77"/>
              </a:rPr>
              <a:t>Závit v betonu s vyplněním chemické hmoty</a:t>
            </a:r>
            <a:endParaRPr lang="en-US" sz="1400" b="1" dirty="0">
              <a:cs typeface="Poppins" pitchFamily="2" charset="77"/>
            </a:endParaRPr>
          </a:p>
        </p:txBody>
      </p:sp>
      <p:sp>
        <p:nvSpPr>
          <p:cNvPr id="31" name="TextBox 29">
            <a:extLst>
              <a:ext uri="{FF2B5EF4-FFF2-40B4-BE49-F238E27FC236}">
                <a16:creationId xmlns:a16="http://schemas.microsoft.com/office/drawing/2014/main" id="{A84A8BAE-B1E5-4D93-BEA0-AD713A622F63}"/>
              </a:ext>
            </a:extLst>
          </p:cNvPr>
          <p:cNvSpPr txBox="1"/>
          <p:nvPr/>
        </p:nvSpPr>
        <p:spPr>
          <a:xfrm>
            <a:off x="3324036" y="4298411"/>
            <a:ext cx="2455666" cy="153888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cs-CZ" sz="1400" dirty="0">
                <a:cs typeface="Poppins" pitchFamily="2" charset="77"/>
              </a:rPr>
              <a:t>Zvýšená plocha tvarového zámku</a:t>
            </a:r>
            <a:r>
              <a:rPr lang="en-US" sz="1400" dirty="0">
                <a:cs typeface="Poppins" pitchFamily="2" charset="77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cs-CZ" sz="1400" dirty="0">
                <a:cs typeface="Poppins" pitchFamily="2" charset="77"/>
              </a:rPr>
              <a:t>Vyplněné mikrotrhliny v betonu</a:t>
            </a:r>
            <a:endParaRPr lang="en-US" sz="1400" dirty="0">
              <a:cs typeface="Poppins" pitchFamily="2" charset="77"/>
            </a:endParaRPr>
          </a:p>
          <a:p>
            <a:pPr>
              <a:spcBef>
                <a:spcPts val="600"/>
              </a:spcBef>
            </a:pPr>
            <a:r>
              <a:rPr lang="cs-CZ" sz="1400" dirty="0">
                <a:cs typeface="Poppins" pitchFamily="2" charset="77"/>
              </a:rPr>
              <a:t>Funkčnost po celé kotevní hloubce</a:t>
            </a:r>
            <a:endParaRPr lang="en-US" sz="1400" dirty="0">
              <a:cs typeface="Poppins" pitchFamily="2" charset="77"/>
            </a:endParaRPr>
          </a:p>
        </p:txBody>
      </p:sp>
      <p:sp>
        <p:nvSpPr>
          <p:cNvPr id="24" name="Rectangle 25">
            <a:extLst>
              <a:ext uri="{FF2B5EF4-FFF2-40B4-BE49-F238E27FC236}">
                <a16:creationId xmlns:a16="http://schemas.microsoft.com/office/drawing/2014/main" id="{8FE56D31-736E-4817-9489-9E3493A247F2}"/>
              </a:ext>
            </a:extLst>
          </p:cNvPr>
          <p:cNvSpPr/>
          <p:nvPr/>
        </p:nvSpPr>
        <p:spPr>
          <a:xfrm>
            <a:off x="5503700" y="2152589"/>
            <a:ext cx="1950749" cy="76881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5" name="Rectangle 26">
            <a:extLst>
              <a:ext uri="{FF2B5EF4-FFF2-40B4-BE49-F238E27FC236}">
                <a16:creationId xmlns:a16="http://schemas.microsoft.com/office/drawing/2014/main" id="{2DA70965-9015-4EF8-A25D-9ED108916919}"/>
              </a:ext>
            </a:extLst>
          </p:cNvPr>
          <p:cNvSpPr/>
          <p:nvPr/>
        </p:nvSpPr>
        <p:spPr>
          <a:xfrm>
            <a:off x="7411115" y="2339404"/>
            <a:ext cx="92401" cy="340494"/>
          </a:xfrm>
          <a:custGeom>
            <a:avLst/>
            <a:gdLst>
              <a:gd name="connsiteX0" fmla="*/ 0 w 92401"/>
              <a:gd name="connsiteY0" fmla="*/ 0 h 340494"/>
              <a:gd name="connsiteX1" fmla="*/ 92401 w 92401"/>
              <a:gd name="connsiteY1" fmla="*/ 0 h 340494"/>
              <a:gd name="connsiteX2" fmla="*/ 92401 w 92401"/>
              <a:gd name="connsiteY2" fmla="*/ 340494 h 340494"/>
              <a:gd name="connsiteX3" fmla="*/ 0 w 92401"/>
              <a:gd name="connsiteY3" fmla="*/ 340494 h 340494"/>
              <a:gd name="connsiteX4" fmla="*/ 0 w 92401"/>
              <a:gd name="connsiteY4" fmla="*/ 0 h 340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401" h="340494" fill="none" extrusionOk="0">
                <a:moveTo>
                  <a:pt x="0" y="0"/>
                </a:moveTo>
                <a:cubicBezTo>
                  <a:pt x="32260" y="-4364"/>
                  <a:pt x="65962" y="2222"/>
                  <a:pt x="92401" y="0"/>
                </a:cubicBezTo>
                <a:cubicBezTo>
                  <a:pt x="95093" y="153232"/>
                  <a:pt x="97777" y="185590"/>
                  <a:pt x="92401" y="340494"/>
                </a:cubicBezTo>
                <a:cubicBezTo>
                  <a:pt x="52790" y="338107"/>
                  <a:pt x="21242" y="336348"/>
                  <a:pt x="0" y="340494"/>
                </a:cubicBezTo>
                <a:cubicBezTo>
                  <a:pt x="14226" y="203952"/>
                  <a:pt x="-16726" y="158464"/>
                  <a:pt x="0" y="0"/>
                </a:cubicBezTo>
                <a:close/>
              </a:path>
              <a:path w="92401" h="340494" stroke="0" extrusionOk="0">
                <a:moveTo>
                  <a:pt x="0" y="0"/>
                </a:moveTo>
                <a:cubicBezTo>
                  <a:pt x="40214" y="3604"/>
                  <a:pt x="49228" y="-4160"/>
                  <a:pt x="92401" y="0"/>
                </a:cubicBezTo>
                <a:cubicBezTo>
                  <a:pt x="89536" y="134956"/>
                  <a:pt x="87718" y="182298"/>
                  <a:pt x="92401" y="340494"/>
                </a:cubicBezTo>
                <a:cubicBezTo>
                  <a:pt x="48959" y="339995"/>
                  <a:pt x="30447" y="342836"/>
                  <a:pt x="0" y="340494"/>
                </a:cubicBezTo>
                <a:cubicBezTo>
                  <a:pt x="3417" y="214866"/>
                  <a:pt x="4899" y="168154"/>
                  <a:pt x="0" y="0"/>
                </a:cubicBezTo>
                <a:close/>
              </a:path>
            </a:pathLst>
          </a:custGeom>
          <a:solidFill>
            <a:schemeClr val="bg1"/>
          </a:solidFill>
          <a:ln w="25400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2317287601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6" name="Isosceles Triangle 27">
            <a:extLst>
              <a:ext uri="{FF2B5EF4-FFF2-40B4-BE49-F238E27FC236}">
                <a16:creationId xmlns:a16="http://schemas.microsoft.com/office/drawing/2014/main" id="{0704CC63-1D51-4ABA-888E-493E712E0A8F}"/>
              </a:ext>
            </a:extLst>
          </p:cNvPr>
          <p:cNvSpPr/>
          <p:nvPr/>
        </p:nvSpPr>
        <p:spPr>
          <a:xfrm rot="10800000">
            <a:off x="5643638" y="1901899"/>
            <a:ext cx="1643647" cy="667471"/>
          </a:xfrm>
          <a:custGeom>
            <a:avLst/>
            <a:gdLst>
              <a:gd name="connsiteX0" fmla="*/ 0 w 1643647"/>
              <a:gd name="connsiteY0" fmla="*/ 667471 h 667471"/>
              <a:gd name="connsiteX1" fmla="*/ 441767 w 1643647"/>
              <a:gd name="connsiteY1" fmla="*/ 320386 h 667471"/>
              <a:gd name="connsiteX2" fmla="*/ 849552 w 1643647"/>
              <a:gd name="connsiteY2" fmla="*/ 0 h 667471"/>
              <a:gd name="connsiteX3" fmla="*/ 1238659 w 1643647"/>
              <a:gd name="connsiteY3" fmla="*/ 327061 h 667471"/>
              <a:gd name="connsiteX4" fmla="*/ 1643647 w 1643647"/>
              <a:gd name="connsiteY4" fmla="*/ 667471 h 667471"/>
              <a:gd name="connsiteX5" fmla="*/ 1095765 w 1643647"/>
              <a:gd name="connsiteY5" fmla="*/ 667471 h 667471"/>
              <a:gd name="connsiteX6" fmla="*/ 580755 w 1643647"/>
              <a:gd name="connsiteY6" fmla="*/ 667471 h 667471"/>
              <a:gd name="connsiteX7" fmla="*/ 0 w 1643647"/>
              <a:gd name="connsiteY7" fmla="*/ 667471 h 667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43647" h="667471" fill="none" extrusionOk="0">
                <a:moveTo>
                  <a:pt x="0" y="667471"/>
                </a:moveTo>
                <a:cubicBezTo>
                  <a:pt x="193857" y="481368"/>
                  <a:pt x="319195" y="458182"/>
                  <a:pt x="441767" y="320386"/>
                </a:cubicBezTo>
                <a:cubicBezTo>
                  <a:pt x="564339" y="182590"/>
                  <a:pt x="740824" y="143426"/>
                  <a:pt x="849552" y="0"/>
                </a:cubicBezTo>
                <a:cubicBezTo>
                  <a:pt x="1006269" y="68068"/>
                  <a:pt x="1017794" y="216975"/>
                  <a:pt x="1238659" y="327061"/>
                </a:cubicBezTo>
                <a:cubicBezTo>
                  <a:pt x="1459524" y="437147"/>
                  <a:pt x="1447661" y="505540"/>
                  <a:pt x="1643647" y="667471"/>
                </a:cubicBezTo>
                <a:cubicBezTo>
                  <a:pt x="1528499" y="701442"/>
                  <a:pt x="1329728" y="630167"/>
                  <a:pt x="1095765" y="667471"/>
                </a:cubicBezTo>
                <a:cubicBezTo>
                  <a:pt x="861802" y="704775"/>
                  <a:pt x="787743" y="635863"/>
                  <a:pt x="580755" y="667471"/>
                </a:cubicBezTo>
                <a:cubicBezTo>
                  <a:pt x="373767" y="699079"/>
                  <a:pt x="238005" y="620302"/>
                  <a:pt x="0" y="667471"/>
                </a:cubicBezTo>
                <a:close/>
              </a:path>
              <a:path w="1643647" h="667471" stroke="0" extrusionOk="0">
                <a:moveTo>
                  <a:pt x="0" y="667471"/>
                </a:moveTo>
                <a:cubicBezTo>
                  <a:pt x="106264" y="525859"/>
                  <a:pt x="354575" y="467939"/>
                  <a:pt x="416280" y="340410"/>
                </a:cubicBezTo>
                <a:cubicBezTo>
                  <a:pt x="477986" y="212882"/>
                  <a:pt x="740202" y="101828"/>
                  <a:pt x="849552" y="0"/>
                </a:cubicBezTo>
                <a:cubicBezTo>
                  <a:pt x="1071578" y="127337"/>
                  <a:pt x="1084497" y="219109"/>
                  <a:pt x="1262481" y="347085"/>
                </a:cubicBezTo>
                <a:cubicBezTo>
                  <a:pt x="1440465" y="475061"/>
                  <a:pt x="1431670" y="544878"/>
                  <a:pt x="1643647" y="667471"/>
                </a:cubicBezTo>
                <a:cubicBezTo>
                  <a:pt x="1432937" y="696642"/>
                  <a:pt x="1367059" y="610101"/>
                  <a:pt x="1128638" y="667471"/>
                </a:cubicBezTo>
                <a:cubicBezTo>
                  <a:pt x="890217" y="724841"/>
                  <a:pt x="768624" y="616268"/>
                  <a:pt x="547882" y="667471"/>
                </a:cubicBezTo>
                <a:cubicBezTo>
                  <a:pt x="327140" y="718674"/>
                  <a:pt x="142336" y="604233"/>
                  <a:pt x="0" y="667471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46050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triangle">
                    <a:avLst>
                      <a:gd name="adj" fmla="val 51687"/>
                    </a:avLst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7" name="Arrow: Right 28">
            <a:extLst>
              <a:ext uri="{FF2B5EF4-FFF2-40B4-BE49-F238E27FC236}">
                <a16:creationId xmlns:a16="http://schemas.microsoft.com/office/drawing/2014/main" id="{7ADB0561-353C-41F0-AAAB-E36B9099D09C}"/>
              </a:ext>
            </a:extLst>
          </p:cNvPr>
          <p:cNvSpPr/>
          <p:nvPr/>
        </p:nvSpPr>
        <p:spPr>
          <a:xfrm rot="16200000">
            <a:off x="6290737" y="1347917"/>
            <a:ext cx="262084" cy="322165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8" name="Grafik 2">
            <a:extLst>
              <a:ext uri="{FF2B5EF4-FFF2-40B4-BE49-F238E27FC236}">
                <a16:creationId xmlns:a16="http://schemas.microsoft.com/office/drawing/2014/main" id="{29FF0805-B942-47AC-908B-7DA38A662A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9600" b="88800" l="33299" r="94710">
                        <a14:foregroundMark x1="38485" y1="92800" x2="38485" y2="36000"/>
                        <a14:foregroundMark x1="38485" y1="36000" x2="40560" y2="52000"/>
                        <a14:foregroundMark x1="40560" y1="52000" x2="40247" y2="27237"/>
                        <a14:foregroundMark x1="37908" y1="11290" x2="37656" y2="10400"/>
                        <a14:foregroundMark x1="36087" y1="14722" x2="34751" y2="18400"/>
                        <a14:foregroundMark x1="37656" y1="10400" x2="37088" y2="11964"/>
                        <a14:foregroundMark x1="34751" y1="18400" x2="33402" y2="73600"/>
                        <a14:foregroundMark x1="33402" y1="73600" x2="37759" y2="83200"/>
                        <a14:foregroundMark x1="94191" y1="44000" x2="91805" y2="53600"/>
                        <a14:foregroundMark x1="91805" y1="53600" x2="94710" y2="46400"/>
                        <a14:foregroundMark x1="94710" y1="46400" x2="93050" y2="40000"/>
                        <a14:backgroundMark x1="41701" y1="25600" x2="39938" y2="16000"/>
                        <a14:backgroundMark x1="39834" y1="22400" x2="39938" y2="12000"/>
                        <a14:backgroundMark x1="36929" y1="10400" x2="35892" y2="12800"/>
                        <a14:backgroundMark x1="40249" y1="12800" x2="39523" y2="248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142"/>
          <a:stretch/>
        </p:blipFill>
        <p:spPr bwMode="auto">
          <a:xfrm rot="5400000">
            <a:off x="5911224" y="2051720"/>
            <a:ext cx="968245" cy="260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5">
            <a:extLst>
              <a:ext uri="{FF2B5EF4-FFF2-40B4-BE49-F238E27FC236}">
                <a16:creationId xmlns:a16="http://schemas.microsoft.com/office/drawing/2014/main" id="{87E2D4AA-B33F-405E-A599-F6D3C796FA64}"/>
              </a:ext>
            </a:extLst>
          </p:cNvPr>
          <p:cNvSpPr/>
          <p:nvPr/>
        </p:nvSpPr>
        <p:spPr>
          <a:xfrm>
            <a:off x="5755465" y="5007528"/>
            <a:ext cx="2455666" cy="76881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0" name="Rectangle 30">
            <a:extLst>
              <a:ext uri="{FF2B5EF4-FFF2-40B4-BE49-F238E27FC236}">
                <a16:creationId xmlns:a16="http://schemas.microsoft.com/office/drawing/2014/main" id="{569338E9-4685-4771-A3A9-A4CBDD8FD072}"/>
              </a:ext>
            </a:extLst>
          </p:cNvPr>
          <p:cNvSpPr/>
          <p:nvPr/>
        </p:nvSpPr>
        <p:spPr>
          <a:xfrm>
            <a:off x="6876430" y="5185622"/>
            <a:ext cx="105385" cy="403017"/>
          </a:xfrm>
          <a:custGeom>
            <a:avLst/>
            <a:gdLst>
              <a:gd name="connsiteX0" fmla="*/ 0 w 105385"/>
              <a:gd name="connsiteY0" fmla="*/ 0 h 403017"/>
              <a:gd name="connsiteX1" fmla="*/ 105385 w 105385"/>
              <a:gd name="connsiteY1" fmla="*/ 0 h 403017"/>
              <a:gd name="connsiteX2" fmla="*/ 105385 w 105385"/>
              <a:gd name="connsiteY2" fmla="*/ 403017 h 403017"/>
              <a:gd name="connsiteX3" fmla="*/ 0 w 105385"/>
              <a:gd name="connsiteY3" fmla="*/ 403017 h 403017"/>
              <a:gd name="connsiteX4" fmla="*/ 0 w 105385"/>
              <a:gd name="connsiteY4" fmla="*/ 0 h 403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385" h="403017" fill="none" extrusionOk="0">
                <a:moveTo>
                  <a:pt x="0" y="0"/>
                </a:moveTo>
                <a:cubicBezTo>
                  <a:pt x="45597" y="-1729"/>
                  <a:pt x="53522" y="894"/>
                  <a:pt x="105385" y="0"/>
                </a:cubicBezTo>
                <a:cubicBezTo>
                  <a:pt x="122637" y="149167"/>
                  <a:pt x="91335" y="293193"/>
                  <a:pt x="105385" y="403017"/>
                </a:cubicBezTo>
                <a:cubicBezTo>
                  <a:pt x="75253" y="400400"/>
                  <a:pt x="36448" y="407025"/>
                  <a:pt x="0" y="403017"/>
                </a:cubicBezTo>
                <a:cubicBezTo>
                  <a:pt x="-15882" y="291020"/>
                  <a:pt x="-17199" y="90019"/>
                  <a:pt x="0" y="0"/>
                </a:cubicBezTo>
                <a:close/>
              </a:path>
              <a:path w="105385" h="403017" stroke="0" extrusionOk="0">
                <a:moveTo>
                  <a:pt x="0" y="0"/>
                </a:moveTo>
                <a:cubicBezTo>
                  <a:pt x="39336" y="2995"/>
                  <a:pt x="72079" y="4977"/>
                  <a:pt x="105385" y="0"/>
                </a:cubicBezTo>
                <a:cubicBezTo>
                  <a:pt x="95072" y="187161"/>
                  <a:pt x="103982" y="224966"/>
                  <a:pt x="105385" y="403017"/>
                </a:cubicBezTo>
                <a:cubicBezTo>
                  <a:pt x="70657" y="406679"/>
                  <a:pt x="52002" y="403198"/>
                  <a:pt x="0" y="403017"/>
                </a:cubicBezTo>
                <a:cubicBezTo>
                  <a:pt x="17861" y="234300"/>
                  <a:pt x="2629" y="178429"/>
                  <a:pt x="0" y="0"/>
                </a:cubicBezTo>
                <a:close/>
              </a:path>
            </a:pathLst>
          </a:custGeom>
          <a:solidFill>
            <a:schemeClr val="bg1"/>
          </a:solidFill>
          <a:ln w="25400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2317287601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5" name="Isosceles Triangle 31">
            <a:extLst>
              <a:ext uri="{FF2B5EF4-FFF2-40B4-BE49-F238E27FC236}">
                <a16:creationId xmlns:a16="http://schemas.microsoft.com/office/drawing/2014/main" id="{47376068-DAFC-4E11-924D-BD7808F597DB}"/>
              </a:ext>
            </a:extLst>
          </p:cNvPr>
          <p:cNvSpPr/>
          <p:nvPr/>
        </p:nvSpPr>
        <p:spPr>
          <a:xfrm rot="10800000">
            <a:off x="5553393" y="4789708"/>
            <a:ext cx="2810381" cy="826395"/>
          </a:xfrm>
          <a:custGeom>
            <a:avLst/>
            <a:gdLst>
              <a:gd name="connsiteX0" fmla="*/ 0 w 2810381"/>
              <a:gd name="connsiteY0" fmla="*/ 826395 h 826395"/>
              <a:gd name="connsiteX1" fmla="*/ 454345 w 2810381"/>
              <a:gd name="connsiteY1" fmla="*/ 559194 h 826395"/>
              <a:gd name="connsiteX2" fmla="*/ 908690 w 2810381"/>
              <a:gd name="connsiteY2" fmla="*/ 291993 h 826395"/>
              <a:gd name="connsiteX3" fmla="*/ 1405191 w 2810381"/>
              <a:gd name="connsiteY3" fmla="*/ 0 h 826395"/>
              <a:gd name="connsiteX4" fmla="*/ 1901691 w 2810381"/>
              <a:gd name="connsiteY4" fmla="*/ 291993 h 826395"/>
              <a:gd name="connsiteX5" fmla="*/ 2384140 w 2810381"/>
              <a:gd name="connsiteY5" fmla="*/ 575722 h 826395"/>
              <a:gd name="connsiteX6" fmla="*/ 2810381 w 2810381"/>
              <a:gd name="connsiteY6" fmla="*/ 826395 h 826395"/>
              <a:gd name="connsiteX7" fmla="*/ 2332616 w 2810381"/>
              <a:gd name="connsiteY7" fmla="*/ 826395 h 826395"/>
              <a:gd name="connsiteX8" fmla="*/ 1714332 w 2810381"/>
              <a:gd name="connsiteY8" fmla="*/ 826395 h 826395"/>
              <a:gd name="connsiteX9" fmla="*/ 1152256 w 2810381"/>
              <a:gd name="connsiteY9" fmla="*/ 826395 h 826395"/>
              <a:gd name="connsiteX10" fmla="*/ 646388 w 2810381"/>
              <a:gd name="connsiteY10" fmla="*/ 826395 h 826395"/>
              <a:gd name="connsiteX11" fmla="*/ 0 w 2810381"/>
              <a:gd name="connsiteY11" fmla="*/ 826395 h 826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810381" h="826395" fill="none" extrusionOk="0">
                <a:moveTo>
                  <a:pt x="0" y="826395"/>
                </a:moveTo>
                <a:cubicBezTo>
                  <a:pt x="154832" y="702588"/>
                  <a:pt x="290437" y="660163"/>
                  <a:pt x="454345" y="559194"/>
                </a:cubicBezTo>
                <a:cubicBezTo>
                  <a:pt x="618253" y="458225"/>
                  <a:pt x="728182" y="421271"/>
                  <a:pt x="908690" y="291993"/>
                </a:cubicBezTo>
                <a:cubicBezTo>
                  <a:pt x="1089198" y="162715"/>
                  <a:pt x="1266400" y="137091"/>
                  <a:pt x="1405191" y="0"/>
                </a:cubicBezTo>
                <a:cubicBezTo>
                  <a:pt x="1583967" y="84523"/>
                  <a:pt x="1745742" y="270725"/>
                  <a:pt x="1901691" y="291993"/>
                </a:cubicBezTo>
                <a:cubicBezTo>
                  <a:pt x="2057640" y="313261"/>
                  <a:pt x="2248076" y="502530"/>
                  <a:pt x="2384140" y="575722"/>
                </a:cubicBezTo>
                <a:cubicBezTo>
                  <a:pt x="2520204" y="648914"/>
                  <a:pt x="2595142" y="758199"/>
                  <a:pt x="2810381" y="826395"/>
                </a:cubicBezTo>
                <a:cubicBezTo>
                  <a:pt x="2577244" y="880919"/>
                  <a:pt x="2533285" y="796869"/>
                  <a:pt x="2332616" y="826395"/>
                </a:cubicBezTo>
                <a:cubicBezTo>
                  <a:pt x="2131948" y="855921"/>
                  <a:pt x="1844416" y="758059"/>
                  <a:pt x="1714332" y="826395"/>
                </a:cubicBezTo>
                <a:cubicBezTo>
                  <a:pt x="1584248" y="894731"/>
                  <a:pt x="1421871" y="790420"/>
                  <a:pt x="1152256" y="826395"/>
                </a:cubicBezTo>
                <a:cubicBezTo>
                  <a:pt x="882641" y="862370"/>
                  <a:pt x="776287" y="772311"/>
                  <a:pt x="646388" y="826395"/>
                </a:cubicBezTo>
                <a:cubicBezTo>
                  <a:pt x="516489" y="880479"/>
                  <a:pt x="291102" y="819248"/>
                  <a:pt x="0" y="826395"/>
                </a:cubicBezTo>
                <a:close/>
              </a:path>
              <a:path w="2810381" h="826395" stroke="0" extrusionOk="0">
                <a:moveTo>
                  <a:pt x="0" y="826395"/>
                </a:moveTo>
                <a:cubicBezTo>
                  <a:pt x="188147" y="712514"/>
                  <a:pt x="288293" y="681186"/>
                  <a:pt x="454345" y="559194"/>
                </a:cubicBezTo>
                <a:cubicBezTo>
                  <a:pt x="620397" y="437202"/>
                  <a:pt x="780611" y="388946"/>
                  <a:pt x="880586" y="308521"/>
                </a:cubicBezTo>
                <a:cubicBezTo>
                  <a:pt x="980561" y="228096"/>
                  <a:pt x="1290234" y="137589"/>
                  <a:pt x="1405191" y="0"/>
                </a:cubicBezTo>
                <a:cubicBezTo>
                  <a:pt x="1557249" y="16501"/>
                  <a:pt x="1743237" y="198963"/>
                  <a:pt x="1859536" y="267201"/>
                </a:cubicBezTo>
                <a:cubicBezTo>
                  <a:pt x="1975835" y="335439"/>
                  <a:pt x="2121289" y="423783"/>
                  <a:pt x="2299829" y="526138"/>
                </a:cubicBezTo>
                <a:cubicBezTo>
                  <a:pt x="2478369" y="628493"/>
                  <a:pt x="2571451" y="753027"/>
                  <a:pt x="2810381" y="826395"/>
                </a:cubicBezTo>
                <a:cubicBezTo>
                  <a:pt x="2658391" y="865196"/>
                  <a:pt x="2516972" y="794454"/>
                  <a:pt x="2248305" y="826395"/>
                </a:cubicBezTo>
                <a:cubicBezTo>
                  <a:pt x="1979638" y="858336"/>
                  <a:pt x="1808706" y="759252"/>
                  <a:pt x="1630021" y="826395"/>
                </a:cubicBezTo>
                <a:cubicBezTo>
                  <a:pt x="1451336" y="893538"/>
                  <a:pt x="1364004" y="810431"/>
                  <a:pt x="1152256" y="826395"/>
                </a:cubicBezTo>
                <a:cubicBezTo>
                  <a:pt x="940509" y="842359"/>
                  <a:pt x="774829" y="768901"/>
                  <a:pt x="590180" y="826395"/>
                </a:cubicBezTo>
                <a:cubicBezTo>
                  <a:pt x="405531" y="883889"/>
                  <a:pt x="180201" y="821283"/>
                  <a:pt x="0" y="826395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46050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triangle">
                    <a:avLst>
                      <a:gd name="adj" fmla="val 50000"/>
                    </a:avLst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6" name="Rectangle 32">
            <a:extLst>
              <a:ext uri="{FF2B5EF4-FFF2-40B4-BE49-F238E27FC236}">
                <a16:creationId xmlns:a16="http://schemas.microsoft.com/office/drawing/2014/main" id="{91AEB4DA-15FE-43AD-8159-BDF731156F02}"/>
              </a:ext>
            </a:extLst>
          </p:cNvPr>
          <p:cNvSpPr/>
          <p:nvPr/>
        </p:nvSpPr>
        <p:spPr>
          <a:xfrm>
            <a:off x="6874140" y="4822854"/>
            <a:ext cx="105385" cy="703262"/>
          </a:xfrm>
          <a:custGeom>
            <a:avLst/>
            <a:gdLst>
              <a:gd name="connsiteX0" fmla="*/ 0 w 105385"/>
              <a:gd name="connsiteY0" fmla="*/ 0 h 703262"/>
              <a:gd name="connsiteX1" fmla="*/ 105385 w 105385"/>
              <a:gd name="connsiteY1" fmla="*/ 0 h 703262"/>
              <a:gd name="connsiteX2" fmla="*/ 105385 w 105385"/>
              <a:gd name="connsiteY2" fmla="*/ 337566 h 703262"/>
              <a:gd name="connsiteX3" fmla="*/ 105385 w 105385"/>
              <a:gd name="connsiteY3" fmla="*/ 703262 h 703262"/>
              <a:gd name="connsiteX4" fmla="*/ 0 w 105385"/>
              <a:gd name="connsiteY4" fmla="*/ 703262 h 703262"/>
              <a:gd name="connsiteX5" fmla="*/ 0 w 105385"/>
              <a:gd name="connsiteY5" fmla="*/ 358664 h 703262"/>
              <a:gd name="connsiteX6" fmla="*/ 0 w 105385"/>
              <a:gd name="connsiteY6" fmla="*/ 0 h 703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385" h="703262" fill="none" extrusionOk="0">
                <a:moveTo>
                  <a:pt x="0" y="0"/>
                </a:moveTo>
                <a:cubicBezTo>
                  <a:pt x="35674" y="3170"/>
                  <a:pt x="56689" y="-3502"/>
                  <a:pt x="105385" y="0"/>
                </a:cubicBezTo>
                <a:cubicBezTo>
                  <a:pt x="91615" y="114085"/>
                  <a:pt x="107981" y="205075"/>
                  <a:pt x="105385" y="337566"/>
                </a:cubicBezTo>
                <a:cubicBezTo>
                  <a:pt x="102789" y="470057"/>
                  <a:pt x="97444" y="622125"/>
                  <a:pt x="105385" y="703262"/>
                </a:cubicBezTo>
                <a:cubicBezTo>
                  <a:pt x="76315" y="706313"/>
                  <a:pt x="35346" y="700774"/>
                  <a:pt x="0" y="703262"/>
                </a:cubicBezTo>
                <a:cubicBezTo>
                  <a:pt x="-7959" y="550829"/>
                  <a:pt x="-8632" y="504125"/>
                  <a:pt x="0" y="358664"/>
                </a:cubicBezTo>
                <a:cubicBezTo>
                  <a:pt x="8632" y="213203"/>
                  <a:pt x="-2130" y="90504"/>
                  <a:pt x="0" y="0"/>
                </a:cubicBezTo>
                <a:close/>
              </a:path>
              <a:path w="105385" h="703262" stroke="0" extrusionOk="0">
                <a:moveTo>
                  <a:pt x="0" y="0"/>
                </a:moveTo>
                <a:cubicBezTo>
                  <a:pt x="24550" y="-3787"/>
                  <a:pt x="76536" y="-4572"/>
                  <a:pt x="105385" y="0"/>
                </a:cubicBezTo>
                <a:cubicBezTo>
                  <a:pt x="102999" y="114959"/>
                  <a:pt x="104835" y="208605"/>
                  <a:pt x="105385" y="330533"/>
                </a:cubicBezTo>
                <a:cubicBezTo>
                  <a:pt x="105935" y="452461"/>
                  <a:pt x="118583" y="546092"/>
                  <a:pt x="105385" y="703262"/>
                </a:cubicBezTo>
                <a:cubicBezTo>
                  <a:pt x="67918" y="701354"/>
                  <a:pt x="25579" y="703297"/>
                  <a:pt x="0" y="703262"/>
                </a:cubicBezTo>
                <a:cubicBezTo>
                  <a:pt x="6729" y="605319"/>
                  <a:pt x="-12239" y="452111"/>
                  <a:pt x="0" y="358664"/>
                </a:cubicBezTo>
                <a:cubicBezTo>
                  <a:pt x="12239" y="265217"/>
                  <a:pt x="-4892" y="100631"/>
                  <a:pt x="0" y="0"/>
                </a:cubicBezTo>
                <a:close/>
              </a:path>
            </a:pathLst>
          </a:custGeom>
          <a:solidFill>
            <a:srgbClr val="C00000"/>
          </a:solidFill>
          <a:ln>
            <a:solidFill>
              <a:srgbClr val="C00000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7" name="Grafik 2">
            <a:extLst>
              <a:ext uri="{FF2B5EF4-FFF2-40B4-BE49-F238E27FC236}">
                <a16:creationId xmlns:a16="http://schemas.microsoft.com/office/drawing/2014/main" id="{F5B2F0AA-4459-48FA-BE33-E265D8AD15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9600" b="88800" l="33299" r="94710">
                        <a14:foregroundMark x1="38485" y1="92800" x2="38485" y2="36000"/>
                        <a14:foregroundMark x1="38485" y1="36000" x2="40560" y2="52000"/>
                        <a14:foregroundMark x1="40560" y1="52000" x2="40247" y2="27237"/>
                        <a14:foregroundMark x1="37908" y1="11290" x2="37656" y2="10400"/>
                        <a14:foregroundMark x1="36087" y1="14722" x2="34751" y2="18400"/>
                        <a14:foregroundMark x1="37656" y1="10400" x2="37088" y2="11964"/>
                        <a14:foregroundMark x1="34751" y1="18400" x2="33402" y2="73600"/>
                        <a14:foregroundMark x1="33402" y1="73600" x2="37759" y2="83200"/>
                        <a14:foregroundMark x1="94191" y1="44000" x2="91805" y2="53600"/>
                        <a14:foregroundMark x1="91805" y1="53600" x2="94710" y2="46400"/>
                        <a14:foregroundMark x1="94710" y1="46400" x2="93050" y2="40000"/>
                        <a14:backgroundMark x1="41701" y1="25600" x2="39938" y2="16000"/>
                        <a14:backgroundMark x1="39834" y1="22400" x2="39938" y2="12000"/>
                        <a14:backgroundMark x1="36929" y1="10400" x2="35892" y2="12800"/>
                        <a14:backgroundMark x1="40249" y1="12800" x2="39523" y2="248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142"/>
          <a:stretch/>
        </p:blipFill>
        <p:spPr bwMode="auto">
          <a:xfrm rot="5400000">
            <a:off x="6445764" y="4944367"/>
            <a:ext cx="968245" cy="260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Arrow: Right 34">
            <a:extLst>
              <a:ext uri="{FF2B5EF4-FFF2-40B4-BE49-F238E27FC236}">
                <a16:creationId xmlns:a16="http://schemas.microsoft.com/office/drawing/2014/main" id="{DFB50137-0459-4C1F-94F5-D9DA4F30459F}"/>
              </a:ext>
            </a:extLst>
          </p:cNvPr>
          <p:cNvSpPr/>
          <p:nvPr/>
        </p:nvSpPr>
        <p:spPr>
          <a:xfrm rot="16200000">
            <a:off x="6749556" y="4172694"/>
            <a:ext cx="397825" cy="322165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9" name="Rectangle 122">
            <a:extLst>
              <a:ext uri="{FF2B5EF4-FFF2-40B4-BE49-F238E27FC236}">
                <a16:creationId xmlns:a16="http://schemas.microsoft.com/office/drawing/2014/main" id="{3D1FD1E5-FDD8-4D08-ADC3-66886A48F0D2}"/>
              </a:ext>
            </a:extLst>
          </p:cNvPr>
          <p:cNvSpPr/>
          <p:nvPr/>
        </p:nvSpPr>
        <p:spPr>
          <a:xfrm>
            <a:off x="6919670" y="2571818"/>
            <a:ext cx="1118625" cy="3596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err="1">
                <a:solidFill>
                  <a:srgbClr val="000000"/>
                </a:solidFill>
                <a:latin typeface="Arial" panose="020B0604020202020204" pitchFamily="34" charset="0"/>
              </a:rPr>
              <a:t>h</a:t>
            </a:r>
            <a:r>
              <a:rPr lang="en-US" sz="1400" baseline="-25000" err="1">
                <a:solidFill>
                  <a:srgbClr val="000000"/>
                </a:solidFill>
                <a:latin typeface="Arial" panose="020B0604020202020204" pitchFamily="34" charset="0"/>
              </a:rPr>
              <a:t>nom</a:t>
            </a:r>
            <a:r>
              <a:rPr lang="en-US" sz="1400">
                <a:solidFill>
                  <a:srgbClr val="000000"/>
                </a:solidFill>
                <a:latin typeface="Arial" panose="020B0604020202020204" pitchFamily="34" charset="0"/>
              </a:rPr>
              <a:t> [mm]</a:t>
            </a:r>
            <a:endParaRPr lang="en-US" sz="14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0" name="Rectangle 127">
            <a:extLst>
              <a:ext uri="{FF2B5EF4-FFF2-40B4-BE49-F238E27FC236}">
                <a16:creationId xmlns:a16="http://schemas.microsoft.com/office/drawing/2014/main" id="{5A9B4564-F71D-416C-BC49-7DCF310341CE}"/>
              </a:ext>
            </a:extLst>
          </p:cNvPr>
          <p:cNvSpPr/>
          <p:nvPr/>
        </p:nvSpPr>
        <p:spPr>
          <a:xfrm>
            <a:off x="7087779" y="1465316"/>
            <a:ext cx="927435" cy="47220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N</a:t>
            </a:r>
            <a:r>
              <a:rPr lang="en-US" sz="1400" baseline="-25000" dirty="0" err="1">
                <a:solidFill>
                  <a:srgbClr val="000000"/>
                </a:solidFill>
                <a:latin typeface="Arial" panose="020B0604020202020204" pitchFamily="34" charset="0"/>
              </a:rPr>
              <a:t>Rd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kN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]</a:t>
            </a:r>
          </a:p>
        </p:txBody>
      </p:sp>
      <p:pic>
        <p:nvPicPr>
          <p:cNvPr id="41" name="Grafik 40">
            <a:extLst>
              <a:ext uri="{FF2B5EF4-FFF2-40B4-BE49-F238E27FC236}">
                <a16:creationId xmlns:a16="http://schemas.microsoft.com/office/drawing/2014/main" id="{24D3C5CF-8B56-4284-9C76-ADF4D103440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977671" y="1415135"/>
            <a:ext cx="688139" cy="1679867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FAF7F875-6FA9-4A70-A424-E4713F348C3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05813" y="4131584"/>
            <a:ext cx="544644" cy="1679866"/>
          </a:xfrm>
          <a:prstGeom prst="rect">
            <a:avLst/>
          </a:prstGeom>
        </p:spPr>
      </p:pic>
      <p:sp>
        <p:nvSpPr>
          <p:cNvPr id="43" name="TextBox 29">
            <a:extLst>
              <a:ext uri="{FF2B5EF4-FFF2-40B4-BE49-F238E27FC236}">
                <a16:creationId xmlns:a16="http://schemas.microsoft.com/office/drawing/2014/main" id="{3399DEC3-5608-4C78-B6AF-C6EC23C88AD9}"/>
              </a:ext>
            </a:extLst>
          </p:cNvPr>
          <p:cNvSpPr txBox="1"/>
          <p:nvPr/>
        </p:nvSpPr>
        <p:spPr>
          <a:xfrm>
            <a:off x="3405385" y="1351033"/>
            <a:ext cx="1643647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cs-CZ" sz="1400" dirty="0">
                <a:cs typeface="Poppins" pitchFamily="2" charset="77"/>
              </a:rPr>
              <a:t>Standardní plocha tvarového zámku</a:t>
            </a:r>
            <a:r>
              <a:rPr lang="en-US" sz="1400" dirty="0">
                <a:cs typeface="Poppins" pitchFamily="2" charset="77"/>
              </a:rPr>
              <a:t> </a:t>
            </a:r>
          </a:p>
        </p:txBody>
      </p:sp>
      <p:sp>
        <p:nvSpPr>
          <p:cNvPr id="47" name="Rectangle 127">
            <a:extLst>
              <a:ext uri="{FF2B5EF4-FFF2-40B4-BE49-F238E27FC236}">
                <a16:creationId xmlns:a16="http://schemas.microsoft.com/office/drawing/2014/main" id="{63234344-126B-4068-939E-03AE8CDD1BE7}"/>
              </a:ext>
            </a:extLst>
          </p:cNvPr>
          <p:cNvSpPr/>
          <p:nvPr/>
        </p:nvSpPr>
        <p:spPr>
          <a:xfrm>
            <a:off x="7369035" y="4166233"/>
            <a:ext cx="927435" cy="47220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N</a:t>
            </a:r>
            <a:r>
              <a:rPr lang="en-US" sz="1400" baseline="-25000" dirty="0" err="1">
                <a:solidFill>
                  <a:srgbClr val="000000"/>
                </a:solidFill>
                <a:latin typeface="Arial" panose="020B0604020202020204" pitchFamily="34" charset="0"/>
              </a:rPr>
              <a:t>Rd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[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kN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]</a:t>
            </a:r>
          </a:p>
        </p:txBody>
      </p:sp>
      <p:sp>
        <p:nvSpPr>
          <p:cNvPr id="48" name="Rectangle 122">
            <a:extLst>
              <a:ext uri="{FF2B5EF4-FFF2-40B4-BE49-F238E27FC236}">
                <a16:creationId xmlns:a16="http://schemas.microsoft.com/office/drawing/2014/main" id="{721BD44D-0970-47D9-96D9-B8B72F11ECE0}"/>
              </a:ext>
            </a:extLst>
          </p:cNvPr>
          <p:cNvSpPr/>
          <p:nvPr/>
        </p:nvSpPr>
        <p:spPr>
          <a:xfrm>
            <a:off x="7435402" y="5414425"/>
            <a:ext cx="928372" cy="3596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err="1">
                <a:solidFill>
                  <a:srgbClr val="000000"/>
                </a:solidFill>
                <a:latin typeface="Arial" panose="020B0604020202020204" pitchFamily="34" charset="0"/>
              </a:rPr>
              <a:t>h</a:t>
            </a:r>
            <a:r>
              <a:rPr lang="en-US" sz="1400" baseline="-25000" err="1">
                <a:solidFill>
                  <a:srgbClr val="000000"/>
                </a:solidFill>
                <a:latin typeface="Arial" panose="020B0604020202020204" pitchFamily="34" charset="0"/>
              </a:rPr>
              <a:t>nom</a:t>
            </a:r>
            <a:r>
              <a:rPr lang="en-US" sz="1400">
                <a:solidFill>
                  <a:srgbClr val="000000"/>
                </a:solidFill>
                <a:latin typeface="Arial" panose="020B0604020202020204" pitchFamily="34" charset="0"/>
              </a:rPr>
              <a:t> [mm]</a:t>
            </a:r>
            <a:endParaRPr lang="en-US" sz="14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9" name="Slide Number Placeholder 3">
            <a:extLst>
              <a:ext uri="{FF2B5EF4-FFF2-40B4-BE49-F238E27FC236}">
                <a16:creationId xmlns:a16="http://schemas.microsoft.com/office/drawing/2014/main" id="{2FCF4041-9F73-4095-A3F7-5A64AE3E79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424592" y="6470315"/>
            <a:ext cx="504056" cy="186884"/>
          </a:xfrm>
        </p:spPr>
        <p:txBody>
          <a:bodyPr/>
          <a:lstStyle/>
          <a:p>
            <a:fld id="{2B4178FD-43BF-4968-A299-3450DC0CDF97}" type="slidenum">
              <a:rPr lang="en-US" noProof="0" smtClean="0"/>
              <a:t>9</a:t>
            </a:fld>
            <a:endParaRPr lang="en-US" noProof="0"/>
          </a:p>
        </p:txBody>
      </p:sp>
      <p:pic>
        <p:nvPicPr>
          <p:cNvPr id="50" name="Picture 21">
            <a:extLst>
              <a:ext uri="{FF2B5EF4-FFF2-40B4-BE49-F238E27FC236}">
                <a16:creationId xmlns:a16="http://schemas.microsoft.com/office/drawing/2014/main" id="{0708BBBA-3E83-4054-9941-DFCA02250DEC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4094" b="10552"/>
          <a:stretch/>
        </p:blipFill>
        <p:spPr>
          <a:xfrm>
            <a:off x="8950391" y="1393394"/>
            <a:ext cx="2773428" cy="1672010"/>
          </a:xfrm>
          <a:prstGeom prst="rect">
            <a:avLst/>
          </a:prstGeom>
        </p:spPr>
      </p:pic>
      <p:sp>
        <p:nvSpPr>
          <p:cNvPr id="52" name="TextBox 29">
            <a:extLst>
              <a:ext uri="{FF2B5EF4-FFF2-40B4-BE49-F238E27FC236}">
                <a16:creationId xmlns:a16="http://schemas.microsoft.com/office/drawing/2014/main" id="{3ECBB503-5314-4A9A-BAA6-53EE426675A5}"/>
              </a:ext>
            </a:extLst>
          </p:cNvPr>
          <p:cNvSpPr txBox="1"/>
          <p:nvPr/>
        </p:nvSpPr>
        <p:spPr>
          <a:xfrm>
            <a:off x="3341879" y="2571783"/>
            <a:ext cx="2455666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cs-CZ" sz="1400" dirty="0">
                <a:cs typeface="Poppins" pitchFamily="2" charset="77"/>
              </a:rPr>
              <a:t>Částečně redukovaná kotevní hloubka</a:t>
            </a:r>
            <a:endParaRPr lang="en-US" sz="1400" dirty="0">
              <a:cs typeface="Poppins" pitchFamily="2" charset="77"/>
            </a:endParaRPr>
          </a:p>
        </p:txBody>
      </p:sp>
      <p:cxnSp>
        <p:nvCxnSpPr>
          <p:cNvPr id="8" name="Přímá spojnice se šipkou 7">
            <a:extLst>
              <a:ext uri="{FF2B5EF4-FFF2-40B4-BE49-F238E27FC236}">
                <a16:creationId xmlns:a16="http://schemas.microsoft.com/office/drawing/2014/main" id="{6F5838A6-3233-422B-A98F-64164E583BB8}"/>
              </a:ext>
            </a:extLst>
          </p:cNvPr>
          <p:cNvCxnSpPr/>
          <p:nvPr/>
        </p:nvCxnSpPr>
        <p:spPr>
          <a:xfrm flipV="1">
            <a:off x="5171090" y="2339404"/>
            <a:ext cx="1089606" cy="4353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Přímá spojnice se šipkou 52">
            <a:extLst>
              <a:ext uri="{FF2B5EF4-FFF2-40B4-BE49-F238E27FC236}">
                <a16:creationId xmlns:a16="http://schemas.microsoft.com/office/drawing/2014/main" id="{BEF63AE1-0BC8-4A05-AB57-78BB2D4A2F23}"/>
              </a:ext>
            </a:extLst>
          </p:cNvPr>
          <p:cNvCxnSpPr>
            <a:cxnSpLocks/>
          </p:cNvCxnSpPr>
          <p:nvPr/>
        </p:nvCxnSpPr>
        <p:spPr>
          <a:xfrm>
            <a:off x="4918632" y="1719620"/>
            <a:ext cx="1439210" cy="3589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Přímá spojnice se šipkou 53">
            <a:extLst>
              <a:ext uri="{FF2B5EF4-FFF2-40B4-BE49-F238E27FC236}">
                <a16:creationId xmlns:a16="http://schemas.microsoft.com/office/drawing/2014/main" id="{10809F8A-2942-4098-8E07-BFEC940A17CA}"/>
              </a:ext>
            </a:extLst>
          </p:cNvPr>
          <p:cNvCxnSpPr>
            <a:cxnSpLocks/>
          </p:cNvCxnSpPr>
          <p:nvPr/>
        </p:nvCxnSpPr>
        <p:spPr>
          <a:xfrm>
            <a:off x="5527987" y="4516075"/>
            <a:ext cx="1343863" cy="4304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Přímá spojnice se šipkou 54">
            <a:extLst>
              <a:ext uri="{FF2B5EF4-FFF2-40B4-BE49-F238E27FC236}">
                <a16:creationId xmlns:a16="http://schemas.microsoft.com/office/drawing/2014/main" id="{7DF1E124-C0BD-4E1C-8963-D6D1C3952CCB}"/>
              </a:ext>
            </a:extLst>
          </p:cNvPr>
          <p:cNvCxnSpPr>
            <a:cxnSpLocks/>
          </p:cNvCxnSpPr>
          <p:nvPr/>
        </p:nvCxnSpPr>
        <p:spPr>
          <a:xfrm>
            <a:off x="5236295" y="4982668"/>
            <a:ext cx="1635555" cy="2457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0A86B9F9-1337-49C0-9CA7-36A5B06A0302}"/>
              </a:ext>
            </a:extLst>
          </p:cNvPr>
          <p:cNvCxnSpPr>
            <a:cxnSpLocks/>
          </p:cNvCxnSpPr>
          <p:nvPr/>
        </p:nvCxnSpPr>
        <p:spPr>
          <a:xfrm flipV="1">
            <a:off x="5527987" y="5403388"/>
            <a:ext cx="1271870" cy="1229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7" name="Picture 4">
            <a:extLst>
              <a:ext uri="{FF2B5EF4-FFF2-40B4-BE49-F238E27FC236}">
                <a16:creationId xmlns:a16="http://schemas.microsoft.com/office/drawing/2014/main" id="{1E4169FC-1897-4D5B-8F57-3396C46B624A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b="3430"/>
          <a:stretch/>
        </p:blipFill>
        <p:spPr>
          <a:xfrm>
            <a:off x="8950391" y="4166983"/>
            <a:ext cx="2833159" cy="1721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578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MIO_CHANGETRACKING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uIwVE1XB1xjzp8sl8z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iPyTS5BLjHqX89xhJD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iPyTS5BLjHqX89xhJD2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.dbQwVU.PPWEc0n_c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GZqTZYU02M1AfC.0Hw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B7Mg7mM0GSCWU7gjI1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JUAgN0E6KgLsAN9g89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jA.X9TR0ipd.XngWdA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iPyTS5BLjHqX89xhJD2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239"/>
  <p:tag name="MIO_FALLBACK_LAYOUT" val="27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28"/>
  <p:tag name="MIO_HDS" val="True"/>
  <p:tag name="MIO_SKIPVERSION" val="01.01.0001 00:00:00"/>
  <p:tag name="MIO_EKGUID" val="6acabffb-130b-40f0-b278-c085f4ae0f7e"/>
  <p:tag name="MIO_UPDATE" val="True"/>
  <p:tag name="MIO_VERSION" val="30.03.2017 14:54:34"/>
  <p:tag name="MIO_DBID" val="FD168E44-D19A-49E0-8D8E-6CA0A525F0E0"/>
  <p:tag name="MIO_LASTDOWNLOADED" val="31.03.2017 10:23:38"/>
  <p:tag name="MIO_OBJECTNAME" val="Hilti Template 16:9"/>
  <p:tag name="MIO_CDID" val="451eeb19-c04f-4baa-b219-473a5b7aed7c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iPyTS5BLjHqX89xhJD2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PFLgL3I0y5weXTxmWzP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iPyTS5BLjHqX89xhJD2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mwTXnXXaoK4QeaaoSW_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mwTXnXXaoK4QeaaoSW_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QCF7LATBQ.SxDBbJAY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239"/>
  <p:tag name="MIO_FALLBACK_LAYOUT" val="27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28"/>
  <p:tag name="MIO_HDS" val="True"/>
  <p:tag name="MIO_SKIPVERSION" val="01.01.0001 00:00:00"/>
  <p:tag name="MIO_EKGUID" val="6acabffb-130b-40f0-b278-c085f4ae0f7e"/>
  <p:tag name="MIO_UPDATE" val="True"/>
  <p:tag name="MIO_VERSION" val="31.03.2017 07:17:32"/>
  <p:tag name="MIO_DBID" val="FD168E44-D19A-49E0-8D8E-6CA0A525F0E0"/>
  <p:tag name="MIO_LASTDOWNLOADED" val="05.04.2017 12:01:24"/>
  <p:tag name="MIO_OBJECTNAME" val="Hilti Template 16:9"/>
  <p:tag name="MIO_CDID" val="451eeb19-c04f-4baa-b219-473a5b7aed7c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HILTI Master 16:9">
  <a:themeElements>
    <a:clrScheme name="Hilti_Colors">
      <a:dk1>
        <a:sysClr val="windowText" lastClr="000000"/>
      </a:dk1>
      <a:lt1>
        <a:sysClr val="window" lastClr="FFFFFF"/>
      </a:lt1>
      <a:dk2>
        <a:srgbClr val="887F6E"/>
      </a:dk2>
      <a:lt2>
        <a:srgbClr val="D7CEBD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671A3D"/>
      </a:accent5>
      <a:accent6>
        <a:srgbClr val="D7CEBD"/>
      </a:accent6>
      <a:hlink>
        <a:srgbClr val="000000"/>
      </a:hlink>
      <a:folHlink>
        <a:srgbClr val="000000"/>
      </a:folHlink>
    </a:clrScheme>
    <a:fontScheme name="Hil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rtlCol="0">
        <a:spAutoFit/>
      </a:bodyPr>
      <a:lstStyle>
        <a:defPPr marL="241200" indent="-241200" algn="l" rtl="0" eaLnBrk="1" fontAlgn="auto" hangingPunct="1">
          <a:lnSpc>
            <a:spcPct val="107000"/>
          </a:lnSpc>
          <a:spcBef>
            <a:spcPts val="1000"/>
          </a:spcBef>
          <a:spcAft>
            <a:spcPts val="0"/>
          </a:spcAft>
          <a:buClr>
            <a:schemeClr val="accent4">
              <a:lumMod val="60000"/>
              <a:lumOff val="40000"/>
            </a:schemeClr>
          </a:buClr>
          <a:buFont typeface="Arial" panose="020B0604020202020204" pitchFamily="34" charset="0"/>
          <a:buChar char="•"/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8" id="{DDC76ED3-93A6-4217-8DD6-3A69CC79585C}" vid="{E65A49D9-A87E-465D-8B2E-B888F3E1B483}"/>
    </a:ext>
  </a:extLst>
</a:theme>
</file>

<file path=ppt/theme/theme2.xml><?xml version="1.0" encoding="utf-8"?>
<a:theme xmlns:a="http://schemas.openxmlformats.org/drawingml/2006/main" name="Larissa">
  <a:themeElements>
    <a:clrScheme name="Benutzerdefiniert 65">
      <a:dk1>
        <a:sysClr val="windowText" lastClr="000000"/>
      </a:dk1>
      <a:lt1>
        <a:sysClr val="window" lastClr="FFFFFF"/>
      </a:lt1>
      <a:dk2>
        <a:srgbClr val="005F96"/>
      </a:dk2>
      <a:lt2>
        <a:srgbClr val="4BACC6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671A3D"/>
      </a:accent5>
      <a:accent6>
        <a:srgbClr val="E97300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Benutzerdefiniert 65">
      <a:dk1>
        <a:sysClr val="windowText" lastClr="000000"/>
      </a:dk1>
      <a:lt1>
        <a:sysClr val="window" lastClr="FFFFFF"/>
      </a:lt1>
      <a:dk2>
        <a:srgbClr val="005F96"/>
      </a:dk2>
      <a:lt2>
        <a:srgbClr val="4BACC6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671A3D"/>
      </a:accent5>
      <a:accent6>
        <a:srgbClr val="E97300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DF1D00BC5577041958C670719245D7A" ma:contentTypeVersion="13" ma:contentTypeDescription="Create a new document." ma:contentTypeScope="" ma:versionID="d9030f176cceca985c4d159511733d8c">
  <xsd:schema xmlns:xsd="http://www.w3.org/2001/XMLSchema" xmlns:xs="http://www.w3.org/2001/XMLSchema" xmlns:p="http://schemas.microsoft.com/office/2006/metadata/properties" xmlns:ns3="cb065571-8eea-48fb-8f08-d96681a5c85a" xmlns:ns4="23f473dd-6595-4699-bebc-f440be25b951" targetNamespace="http://schemas.microsoft.com/office/2006/metadata/properties" ma:root="true" ma:fieldsID="d9f9da2abc4a66e8baf5769ff1bf5600" ns3:_="" ns4:_="">
    <xsd:import namespace="cb065571-8eea-48fb-8f08-d96681a5c85a"/>
    <xsd:import namespace="23f473dd-6595-4699-bebc-f440be25b95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065571-8eea-48fb-8f08-d96681a5c8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f473dd-6595-4699-bebc-f440be25b951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Application xmlns="http://www.sap.com/cof/powerpoint/application">
  <Version>2</Version>
  <Revision>2.4.3.69601</Revision>
</Application>
</file>

<file path=customXml/item5.xml><?xml version="1.0" encoding="utf-8"?>
<Application xmlns="http://www.sap.com/cof/ao/powerpoint/application">
  <com.sap.ip.bi.pioneer>
    <Version>4</Version>
    <AAO_Revision>2.4.3.69601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Props1.xml><?xml version="1.0" encoding="utf-8"?>
<ds:datastoreItem xmlns:ds="http://schemas.openxmlformats.org/officeDocument/2006/customXml" ds:itemID="{EE03006E-D9AE-4B58-B50B-E8F0AB1D551F}">
  <ds:schemaRefs>
    <ds:schemaRef ds:uri="cb065571-8eea-48fb-8f08-d96681a5c85a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3f473dd-6595-4699-bebc-f440be25b951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644D1B8-CB31-4DF3-9211-39D9035315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b065571-8eea-48fb-8f08-d96681a5c85a"/>
    <ds:schemaRef ds:uri="23f473dd-6595-4699-bebc-f440be25b95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0EBCBD7-22EC-4A23-AEC9-AAFFF3C15756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45DA6667-F574-42B8-BEC6-4A4834CC47E7}">
  <ds:schemaRefs>
    <ds:schemaRef ds:uri="http://www.sap.com/cof/powerpoint/application"/>
  </ds:schemaRefs>
</ds:datastoreItem>
</file>

<file path=customXml/itemProps5.xml><?xml version="1.0" encoding="utf-8"?>
<ds:datastoreItem xmlns:ds="http://schemas.openxmlformats.org/officeDocument/2006/customXml" ds:itemID="{EF37ED19-7150-45F9-9B4B-BFA9BB012F81}">
  <ds:schemaRefs>
    <ds:schemaRef ds:uri="http://www.sap.com/cof/ao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365</TotalTime>
  <Words>490</Words>
  <Application>Microsoft Office PowerPoint</Application>
  <PresentationFormat>Širokoúhlá obrazovka</PresentationFormat>
  <Paragraphs>125</Paragraphs>
  <Slides>15</Slides>
  <Notes>6</Notes>
  <HiddenSlides>0</HiddenSlides>
  <MMClips>1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5</vt:i4>
      </vt:variant>
    </vt:vector>
  </HeadingPairs>
  <TitlesOfParts>
    <vt:vector size="20" baseType="lpstr">
      <vt:lpstr>Arial</vt:lpstr>
      <vt:lpstr>Hilti Brand</vt:lpstr>
      <vt:lpstr>Wingdings</vt:lpstr>
      <vt:lpstr>1_HILTI Master 16:9</vt:lpstr>
      <vt:lpstr>think-cell Slide</vt:lpstr>
      <vt:lpstr>KOMBINACE MECHANICKÉ A CHEMICKÉ KOTVY</vt:lpstr>
      <vt:lpstr>OBSAH PREZENTACE:</vt:lpstr>
      <vt:lpstr>Principy fungování chemických kotev:</vt:lpstr>
      <vt:lpstr>VÝHODY A OMEZENÍ CHEMICKÝCH KOTEV:</vt:lpstr>
      <vt:lpstr>PRINCIPY FUNGOVÁNÍ MECHANICKÝH KOTEV:</vt:lpstr>
      <vt:lpstr>VÝHODY A OMEZENÍ MECHANICKÝCH KOTEV:</vt:lpstr>
      <vt:lpstr>HLAVNÍ SYSTÉMOVÉ VYLEPŠENÍ PŘINÁŠÍ KOMBINOVANÁ – HYBRIDNÍ KOTVA  HUS4-MAX:</vt:lpstr>
      <vt:lpstr>Jak probíhá aktivace lepidla s šroubem do betonu:</vt:lpstr>
      <vt:lpstr>POUŽITÍM CHEMICKÉ PATRONY DOCHÁZÍ K VÝRAZNÉMU NÁRUSTU únosnosti OPROTI STANDARDNÍMU ŠROUBU:</vt:lpstr>
      <vt:lpstr>POROVNÁNÍ NÁVRHOVÉ ÚNOSNOSTI PRO ROZMĚR M10:</vt:lpstr>
      <vt:lpstr>Možnost použití stejného otvoru při doplnění kapsle:</vt:lpstr>
      <vt:lpstr>Demontáž kotvy a možnost opětovné instalace kotvy do stejného otvoru:</vt:lpstr>
      <vt:lpstr>Použití na mostních konstrukcích:</vt:lpstr>
      <vt:lpstr>Prezentace aplikace PowerPoint</vt:lpstr>
      <vt:lpstr>DěkujI za pozornost</vt:lpstr>
    </vt:vector>
  </TitlesOfParts>
  <Company>Hilt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eplate fastenings are part of many construction projects</dc:title>
  <dc:subject/>
  <dc:creator>Maia, Rodrigo</dc:creator>
  <cp:lastModifiedBy>Mikes, Daniel</cp:lastModifiedBy>
  <cp:revision>188</cp:revision>
  <cp:lastPrinted>2016-11-23T08:25:33Z</cp:lastPrinted>
  <dcterms:created xsi:type="dcterms:W3CDTF">2019-10-24T16:25:52Z</dcterms:created>
  <dcterms:modified xsi:type="dcterms:W3CDTF">2022-06-14T15:20:16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DF1D00BC5577041958C670719245D7A</vt:lpwstr>
  </property>
</Properties>
</file>